
<file path=[Content_Types].xml><?xml version="1.0" encoding="utf-8"?>
<Types xmlns="http://schemas.openxmlformats.org/package/2006/content-types">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notesSlides/notesSlide27.xml" ContentType="application/vnd.openxmlformats-officedocument.presentationml.notesSlide+xml"/>
  <Override PartName="/ppt/tags/tag32.xml" ContentType="application/vnd.openxmlformats-officedocument.presentationml.tags+xml"/>
  <Override PartName="/ppt/notesSlides/notesSlide28.xml" ContentType="application/vnd.openxmlformats-officedocument.presentationml.notesSlide+xml"/>
  <Override PartName="/ppt/tags/tag33.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3" r:id="rId4"/>
    <p:sldMasterId id="2147483795" r:id="rId5"/>
    <p:sldMasterId id="2147483821" r:id="rId6"/>
  </p:sldMasterIdLst>
  <p:notesMasterIdLst>
    <p:notesMasterId r:id="rId43"/>
  </p:notesMasterIdLst>
  <p:handoutMasterIdLst>
    <p:handoutMasterId r:id="rId44"/>
  </p:handoutMasterIdLst>
  <p:sldIdLst>
    <p:sldId id="2140754139" r:id="rId7"/>
    <p:sldId id="2147376482" r:id="rId8"/>
    <p:sldId id="2140754138" r:id="rId9"/>
    <p:sldId id="2140754157" r:id="rId10"/>
    <p:sldId id="2147376390" r:id="rId11"/>
    <p:sldId id="2147376483" r:id="rId12"/>
    <p:sldId id="2147376426" r:id="rId13"/>
    <p:sldId id="2147376427" r:id="rId14"/>
    <p:sldId id="2147376428" r:id="rId15"/>
    <p:sldId id="2147376444" r:id="rId16"/>
    <p:sldId id="2147376445" r:id="rId17"/>
    <p:sldId id="2147376449" r:id="rId18"/>
    <p:sldId id="2147376476" r:id="rId19"/>
    <p:sldId id="2147376433" r:id="rId20"/>
    <p:sldId id="2147376474" r:id="rId21"/>
    <p:sldId id="2147376435" r:id="rId22"/>
    <p:sldId id="2147376437" r:id="rId23"/>
    <p:sldId id="2147376438" r:id="rId24"/>
    <p:sldId id="2147376442" r:id="rId25"/>
    <p:sldId id="2147376439" r:id="rId26"/>
    <p:sldId id="2147376441" r:id="rId27"/>
    <p:sldId id="2147376477" r:id="rId28"/>
    <p:sldId id="2147376392" r:id="rId29"/>
    <p:sldId id="2147376446" r:id="rId30"/>
    <p:sldId id="2147376471" r:id="rId31"/>
    <p:sldId id="2147376472" r:id="rId32"/>
    <p:sldId id="2147376480" r:id="rId33"/>
    <p:sldId id="2147376485" r:id="rId34"/>
    <p:sldId id="2147376454" r:id="rId35"/>
    <p:sldId id="2147376455" r:id="rId36"/>
    <p:sldId id="2147376457" r:id="rId37"/>
    <p:sldId id="2147376456" r:id="rId38"/>
    <p:sldId id="2147376462" r:id="rId39"/>
    <p:sldId id="2147376470" r:id="rId40"/>
    <p:sldId id="2147376451" r:id="rId41"/>
    <p:sldId id="2147376478" r:id="rId42"/>
  </p:sldIdLst>
  <p:sldSz cx="12192000" cy="6858000"/>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2F6EBA-6D93-2274-C810-B9E36BCEEF17}" name="Bhavaraju, Sai /US" initials="B/" userId="S::sai.bhavaraju@sanofi.com::3b6941e5-982c-44cb-85f2-958985be4f17" providerId="AD"/>
  <p188:author id="{AAFCB2D2-3E1A-1686-EDF4-0BF00D0DAF96}" name="Le-Guennec, Solenn /FR" initials="LGS/" userId="S::Solenn.Le-Guennec@sanofi.com::043872d9-4471-4255-93a8-5cf5b7ce04fc" providerId="AD"/>
  <p188:author id="{3DF998EE-E287-2566-1174-287E4798A8A1}" name="Malinge, Laure /FR/EXT" initials="M/" userId="S::laure.malinge@sanofi.com::969f18f0-9fff-4869-9d6f-661dde44f7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ng, Lin (Biostatistics) /US" initials="W/" lastIdx="6" clrIdx="0">
    <p:extLst>
      <p:ext uri="{19B8F6BF-5375-455C-9EA6-DF929625EA0E}">
        <p15:presenceInfo xmlns:p15="http://schemas.microsoft.com/office/powerpoint/2012/main" userId="S::lin.wang2@sanofi.com::12b8e129-3c72-4e4a-bd35-348efb08fb51" providerId="AD"/>
      </p:ext>
    </p:extLst>
  </p:cmAuthor>
  <p:cmAuthor id="2" name="Le-Guennec, Solenn /FR" initials="LS/" lastIdx="17" clrIdx="1">
    <p:extLst>
      <p:ext uri="{19B8F6BF-5375-455C-9EA6-DF929625EA0E}">
        <p15:presenceInfo xmlns:p15="http://schemas.microsoft.com/office/powerpoint/2012/main" userId="S::Solenn.Le-Guennec@sanofi.com::043872d9-4471-4255-93a8-5cf5b7ce04fc" providerId="AD"/>
      </p:ext>
    </p:extLst>
  </p:cmAuthor>
  <p:cmAuthor id="3" name="Zhang, Qi /US" initials="ZQ/" lastIdx="75" clrIdx="2">
    <p:extLst>
      <p:ext uri="{19B8F6BF-5375-455C-9EA6-DF929625EA0E}">
        <p15:presenceInfo xmlns:p15="http://schemas.microsoft.com/office/powerpoint/2012/main" userId="S::Qi.Zhang@sanofi.com::6d016840-732b-4ec1-b29c-d4e83c92dec8" providerId="AD"/>
      </p:ext>
    </p:extLst>
  </p:cmAuthor>
  <p:cmAuthor id="4" name="Wu, Mei /US" initials="WM/" lastIdx="16" clrIdx="0">
    <p:extLst>
      <p:ext uri="{19B8F6BF-5375-455C-9EA6-DF929625EA0E}">
        <p15:presenceInfo xmlns:p15="http://schemas.microsoft.com/office/powerpoint/2012/main" userId="S::Mei.Wu@sanofi.com::ed84c7e5-9223-40ae-b466-3b381ce312da" providerId="AD"/>
      </p:ext>
    </p:extLst>
  </p:cmAuthor>
  <p:cmAuthor id="5" name="Lorenzato, Christelle /FR" initials="LC/" lastIdx="6" clrIdx="3">
    <p:extLst>
      <p:ext uri="{19B8F6BF-5375-455C-9EA6-DF929625EA0E}">
        <p15:presenceInfo xmlns:p15="http://schemas.microsoft.com/office/powerpoint/2012/main" userId="S::Christelle.Lorenzato@sanofi.com::5eb82ad8-401e-41c9-a613-c668c3d881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00E6"/>
    <a:srgbClr val="23004C"/>
    <a:srgbClr val="75923C"/>
    <a:srgbClr val="D9E1F2"/>
    <a:srgbClr val="B6ABCF"/>
    <a:srgbClr val="FF9933"/>
    <a:srgbClr val="3D0073"/>
    <a:srgbClr val="EBF1DE"/>
    <a:srgbClr val="3E457A"/>
    <a:srgbClr val="525C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AA0AF9-1F76-E68B-22D7-7017FD105702}" v="6" dt="2025-03-20T03:16:16.741"/>
    <p1510:client id="{21917B28-2BBF-4E9D-8E82-43B605E6C797}" v="67" dt="2025-03-20T00:47:41.398"/>
    <p1510:client id="{2F8B803D-1045-9892-F278-111726F0FBC8}" v="4" dt="2025-03-20T05:04:37.603"/>
    <p1510:client id="{5E30D57A-E3A0-6668-0AE9-DBE4DC610469}" v="44" dt="2025-03-20T02:58:11.998"/>
    <p1510:client id="{73C04C14-A225-478F-A32C-B622CC39F259}" v="5" dt="2025-03-20T06:49:08"/>
    <p1510:client id="{821F97AE-D6DE-4A14-ACB5-46B3A1287AC8}" v="19" dt="2025-03-20T04:11:12.612"/>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97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 Nana /CN" userId="ae209bdc-4d8f-495b-b1f7-7de10ae675af" providerId="ADAL" clId="{821F97AE-D6DE-4A14-ACB5-46B3A1287AC8}"/>
    <pc:docChg chg="undo redo custSel modSld">
      <pc:chgData name="Xi, Nana /CN" userId="ae209bdc-4d8f-495b-b1f7-7de10ae675af" providerId="ADAL" clId="{821F97AE-D6DE-4A14-ACB5-46B3A1287AC8}" dt="2025-03-20T04:11:12.611" v="402" actId="20577"/>
      <pc:docMkLst>
        <pc:docMk/>
      </pc:docMkLst>
      <pc:sldChg chg="modSp mod">
        <pc:chgData name="Xi, Nana /CN" userId="ae209bdc-4d8f-495b-b1f7-7de10ae675af" providerId="ADAL" clId="{821F97AE-D6DE-4A14-ACB5-46B3A1287AC8}" dt="2025-03-20T04:10:34.803" v="396" actId="20577"/>
        <pc:sldMkLst>
          <pc:docMk/>
          <pc:sldMk cId="2287941241" sldId="2147376390"/>
        </pc:sldMkLst>
        <pc:spChg chg="mod">
          <ac:chgData name="Xi, Nana /CN" userId="ae209bdc-4d8f-495b-b1f7-7de10ae675af" providerId="ADAL" clId="{821F97AE-D6DE-4A14-ACB5-46B3A1287AC8}" dt="2025-03-20T04:10:34.803" v="396" actId="20577"/>
          <ac:spMkLst>
            <pc:docMk/>
            <pc:sldMk cId="2287941241" sldId="2147376390"/>
            <ac:spMk id="3" creationId="{8B583C51-566D-A7E7-FB04-3E16C7843616}"/>
          </ac:spMkLst>
        </pc:spChg>
      </pc:sldChg>
      <pc:sldChg chg="modSp mod">
        <pc:chgData name="Xi, Nana /CN" userId="ae209bdc-4d8f-495b-b1f7-7de10ae675af" providerId="ADAL" clId="{821F97AE-D6DE-4A14-ACB5-46B3A1287AC8}" dt="2025-03-20T04:05:56.949" v="346" actId="20577"/>
        <pc:sldMkLst>
          <pc:docMk/>
          <pc:sldMk cId="144580504" sldId="2147376392"/>
        </pc:sldMkLst>
        <pc:spChg chg="mod">
          <ac:chgData name="Xi, Nana /CN" userId="ae209bdc-4d8f-495b-b1f7-7de10ae675af" providerId="ADAL" clId="{821F97AE-D6DE-4A14-ACB5-46B3A1287AC8}" dt="2025-03-20T04:05:56.949" v="346" actId="20577"/>
          <ac:spMkLst>
            <pc:docMk/>
            <pc:sldMk cId="144580504" sldId="2147376392"/>
            <ac:spMk id="2" creationId="{D73B230C-1EC0-DB92-63AE-5824227C67CC}"/>
          </ac:spMkLst>
        </pc:spChg>
      </pc:sldChg>
      <pc:sldChg chg="addSp modSp mod">
        <pc:chgData name="Xi, Nana /CN" userId="ae209bdc-4d8f-495b-b1f7-7de10ae675af" providerId="ADAL" clId="{821F97AE-D6DE-4A14-ACB5-46B3A1287AC8}" dt="2025-03-20T04:09:21.813" v="372" actId="6549"/>
        <pc:sldMkLst>
          <pc:docMk/>
          <pc:sldMk cId="3917866036" sldId="2147376426"/>
        </pc:sldMkLst>
        <pc:spChg chg="mod">
          <ac:chgData name="Xi, Nana /CN" userId="ae209bdc-4d8f-495b-b1f7-7de10ae675af" providerId="ADAL" clId="{821F97AE-D6DE-4A14-ACB5-46B3A1287AC8}" dt="2025-03-20T03:46:33.278" v="6" actId="164"/>
          <ac:spMkLst>
            <pc:docMk/>
            <pc:sldMk cId="3917866036" sldId="2147376426"/>
            <ac:spMk id="3" creationId="{65B50588-2CB4-F667-9BB6-3CE826854AAF}"/>
          </ac:spMkLst>
        </pc:spChg>
        <pc:spChg chg="mod">
          <ac:chgData name="Xi, Nana /CN" userId="ae209bdc-4d8f-495b-b1f7-7de10ae675af" providerId="ADAL" clId="{821F97AE-D6DE-4A14-ACB5-46B3A1287AC8}" dt="2025-03-20T04:09:21.813" v="372" actId="6549"/>
          <ac:spMkLst>
            <pc:docMk/>
            <pc:sldMk cId="3917866036" sldId="2147376426"/>
            <ac:spMk id="4" creationId="{2BB29E21-F94B-610C-7DC1-EEE97761DD05}"/>
          </ac:spMkLst>
        </pc:spChg>
        <pc:spChg chg="mod">
          <ac:chgData name="Xi, Nana /CN" userId="ae209bdc-4d8f-495b-b1f7-7de10ae675af" providerId="ADAL" clId="{821F97AE-D6DE-4A14-ACB5-46B3A1287AC8}" dt="2025-03-20T03:46:33.278" v="6" actId="164"/>
          <ac:spMkLst>
            <pc:docMk/>
            <pc:sldMk cId="3917866036" sldId="2147376426"/>
            <ac:spMk id="5" creationId="{49C23AA9-D233-F252-10FD-021D46026974}"/>
          </ac:spMkLst>
        </pc:spChg>
        <pc:spChg chg="mod">
          <ac:chgData name="Xi, Nana /CN" userId="ae209bdc-4d8f-495b-b1f7-7de10ae675af" providerId="ADAL" clId="{821F97AE-D6DE-4A14-ACB5-46B3A1287AC8}" dt="2025-03-20T03:48:44.882" v="40" actId="2711"/>
          <ac:spMkLst>
            <pc:docMk/>
            <pc:sldMk cId="3917866036" sldId="2147376426"/>
            <ac:spMk id="7" creationId="{E70105CE-F097-FB60-3B11-308D1C3AAF7C}"/>
          </ac:spMkLst>
        </pc:spChg>
        <pc:grpChg chg="add mod">
          <ac:chgData name="Xi, Nana /CN" userId="ae209bdc-4d8f-495b-b1f7-7de10ae675af" providerId="ADAL" clId="{821F97AE-D6DE-4A14-ACB5-46B3A1287AC8}" dt="2025-03-20T03:46:33.278" v="6" actId="164"/>
          <ac:grpSpMkLst>
            <pc:docMk/>
            <pc:sldMk cId="3917866036" sldId="2147376426"/>
            <ac:grpSpMk id="10" creationId="{D5FE0575-F76D-E493-1457-3D0ED465634B}"/>
          </ac:grpSpMkLst>
        </pc:grpChg>
      </pc:sldChg>
      <pc:sldChg chg="addSp delSp modSp mod">
        <pc:chgData name="Xi, Nana /CN" userId="ae209bdc-4d8f-495b-b1f7-7de10ae675af" providerId="ADAL" clId="{821F97AE-D6DE-4A14-ACB5-46B3A1287AC8}" dt="2025-03-20T04:09:14.342" v="371" actId="1036"/>
        <pc:sldMkLst>
          <pc:docMk/>
          <pc:sldMk cId="245441334" sldId="2147376427"/>
        </pc:sldMkLst>
        <pc:spChg chg="del">
          <ac:chgData name="Xi, Nana /CN" userId="ae209bdc-4d8f-495b-b1f7-7de10ae675af" providerId="ADAL" clId="{821F97AE-D6DE-4A14-ACB5-46B3A1287AC8}" dt="2025-03-20T03:46:23.955" v="3" actId="478"/>
          <ac:spMkLst>
            <pc:docMk/>
            <pc:sldMk cId="245441334" sldId="2147376427"/>
            <ac:spMk id="3" creationId="{D6222AE9-D8D1-55A4-7CC1-A8950584774C}"/>
          </ac:spMkLst>
        </pc:spChg>
        <pc:spChg chg="mod">
          <ac:chgData name="Xi, Nana /CN" userId="ae209bdc-4d8f-495b-b1f7-7de10ae675af" providerId="ADAL" clId="{821F97AE-D6DE-4A14-ACB5-46B3A1287AC8}" dt="2025-03-20T04:09:14.342" v="371" actId="1036"/>
          <ac:spMkLst>
            <pc:docMk/>
            <pc:sldMk cId="245441334" sldId="2147376427"/>
            <ac:spMk id="4" creationId="{2BB29E21-F94B-610C-7DC1-EEE97761DD05}"/>
          </ac:spMkLst>
        </pc:spChg>
        <pc:spChg chg="del">
          <ac:chgData name="Xi, Nana /CN" userId="ae209bdc-4d8f-495b-b1f7-7de10ae675af" providerId="ADAL" clId="{821F97AE-D6DE-4A14-ACB5-46B3A1287AC8}" dt="2025-03-20T03:46:25.585" v="4" actId="478"/>
          <ac:spMkLst>
            <pc:docMk/>
            <pc:sldMk cId="245441334" sldId="2147376427"/>
            <ac:spMk id="6" creationId="{C5E0E696-F4FB-3FC6-141D-8307D7E4C50B}"/>
          </ac:spMkLst>
        </pc:spChg>
        <pc:spChg chg="add del mod">
          <ac:chgData name="Xi, Nana /CN" userId="ae209bdc-4d8f-495b-b1f7-7de10ae675af" providerId="ADAL" clId="{821F97AE-D6DE-4A14-ACB5-46B3A1287AC8}" dt="2025-03-20T03:46:38.056" v="7" actId="478"/>
          <ac:spMkLst>
            <pc:docMk/>
            <pc:sldMk cId="245441334" sldId="2147376427"/>
            <ac:spMk id="10" creationId="{B6E0202B-A343-82B5-B569-3DEA30CD471B}"/>
          </ac:spMkLst>
        </pc:spChg>
        <pc:spChg chg="mod">
          <ac:chgData name="Xi, Nana /CN" userId="ae209bdc-4d8f-495b-b1f7-7de10ae675af" providerId="ADAL" clId="{821F97AE-D6DE-4A14-ACB5-46B3A1287AC8}" dt="2025-03-20T03:46:38.347" v="8"/>
          <ac:spMkLst>
            <pc:docMk/>
            <pc:sldMk cId="245441334" sldId="2147376427"/>
            <ac:spMk id="12" creationId="{462534F9-D57F-021D-3278-912814E22323}"/>
          </ac:spMkLst>
        </pc:spChg>
        <pc:spChg chg="mod">
          <ac:chgData name="Xi, Nana /CN" userId="ae209bdc-4d8f-495b-b1f7-7de10ae675af" providerId="ADAL" clId="{821F97AE-D6DE-4A14-ACB5-46B3A1287AC8}" dt="2025-03-20T03:46:38.347" v="8"/>
          <ac:spMkLst>
            <pc:docMk/>
            <pc:sldMk cId="245441334" sldId="2147376427"/>
            <ac:spMk id="13" creationId="{A484BEBC-664A-2CBB-02F1-FC6B9351F93B}"/>
          </ac:spMkLst>
        </pc:spChg>
        <pc:grpChg chg="add mod">
          <ac:chgData name="Xi, Nana /CN" userId="ae209bdc-4d8f-495b-b1f7-7de10ae675af" providerId="ADAL" clId="{821F97AE-D6DE-4A14-ACB5-46B3A1287AC8}" dt="2025-03-20T03:46:38.347" v="8"/>
          <ac:grpSpMkLst>
            <pc:docMk/>
            <pc:sldMk cId="245441334" sldId="2147376427"/>
            <ac:grpSpMk id="11" creationId="{5AE399E4-62B7-0A59-7B4C-01EC25557CEA}"/>
          </ac:grpSpMkLst>
        </pc:grpChg>
      </pc:sldChg>
      <pc:sldChg chg="addSp delSp modSp mod">
        <pc:chgData name="Xi, Nana /CN" userId="ae209bdc-4d8f-495b-b1f7-7de10ae675af" providerId="ADAL" clId="{821F97AE-D6DE-4A14-ACB5-46B3A1287AC8}" dt="2025-03-20T04:07:33.258" v="361" actId="6549"/>
        <pc:sldMkLst>
          <pc:docMk/>
          <pc:sldMk cId="3743281346" sldId="2147376428"/>
        </pc:sldMkLst>
        <pc:spChg chg="del">
          <ac:chgData name="Xi, Nana /CN" userId="ae209bdc-4d8f-495b-b1f7-7de10ae675af" providerId="ADAL" clId="{821F97AE-D6DE-4A14-ACB5-46B3A1287AC8}" dt="2025-03-20T03:46:42.352" v="9" actId="478"/>
          <ac:spMkLst>
            <pc:docMk/>
            <pc:sldMk cId="3743281346" sldId="2147376428"/>
            <ac:spMk id="3" creationId="{FA4494D8-310C-F633-6772-A7E71D945D12}"/>
          </ac:spMkLst>
        </pc:spChg>
        <pc:spChg chg="mod">
          <ac:chgData name="Xi, Nana /CN" userId="ae209bdc-4d8f-495b-b1f7-7de10ae675af" providerId="ADAL" clId="{821F97AE-D6DE-4A14-ACB5-46B3A1287AC8}" dt="2025-03-20T04:07:33.258" v="361" actId="6549"/>
          <ac:spMkLst>
            <pc:docMk/>
            <pc:sldMk cId="3743281346" sldId="2147376428"/>
            <ac:spMk id="4" creationId="{2BB29E21-F94B-610C-7DC1-EEE97761DD05}"/>
          </ac:spMkLst>
        </pc:spChg>
        <pc:spChg chg="del">
          <ac:chgData name="Xi, Nana /CN" userId="ae209bdc-4d8f-495b-b1f7-7de10ae675af" providerId="ADAL" clId="{821F97AE-D6DE-4A14-ACB5-46B3A1287AC8}" dt="2025-03-20T03:46:42.352" v="9" actId="478"/>
          <ac:spMkLst>
            <pc:docMk/>
            <pc:sldMk cId="3743281346" sldId="2147376428"/>
            <ac:spMk id="5" creationId="{08DEE713-FF42-8E6B-AF3F-BFA4873EDEE1}"/>
          </ac:spMkLst>
        </pc:spChg>
        <pc:spChg chg="mod">
          <ac:chgData name="Xi, Nana /CN" userId="ae209bdc-4d8f-495b-b1f7-7de10ae675af" providerId="ADAL" clId="{821F97AE-D6DE-4A14-ACB5-46B3A1287AC8}" dt="2025-03-20T03:46:42.627" v="10"/>
          <ac:spMkLst>
            <pc:docMk/>
            <pc:sldMk cId="3743281346" sldId="2147376428"/>
            <ac:spMk id="11" creationId="{DADF3A67-8846-EFCE-A490-2BB7CCE540B4}"/>
          </ac:spMkLst>
        </pc:spChg>
        <pc:spChg chg="mod">
          <ac:chgData name="Xi, Nana /CN" userId="ae209bdc-4d8f-495b-b1f7-7de10ae675af" providerId="ADAL" clId="{821F97AE-D6DE-4A14-ACB5-46B3A1287AC8}" dt="2025-03-20T03:46:42.627" v="10"/>
          <ac:spMkLst>
            <pc:docMk/>
            <pc:sldMk cId="3743281346" sldId="2147376428"/>
            <ac:spMk id="12" creationId="{B4A2879A-0004-F6DC-6C26-BE4224E09E7F}"/>
          </ac:spMkLst>
        </pc:spChg>
        <pc:grpChg chg="add mod">
          <ac:chgData name="Xi, Nana /CN" userId="ae209bdc-4d8f-495b-b1f7-7de10ae675af" providerId="ADAL" clId="{821F97AE-D6DE-4A14-ACB5-46B3A1287AC8}" dt="2025-03-20T03:46:42.627" v="10"/>
          <ac:grpSpMkLst>
            <pc:docMk/>
            <pc:sldMk cId="3743281346" sldId="2147376428"/>
            <ac:grpSpMk id="10" creationId="{AF15074F-C8BD-991C-05B7-D1E5FE2C9287}"/>
          </ac:grpSpMkLst>
        </pc:grpChg>
      </pc:sldChg>
      <pc:sldChg chg="modSp">
        <pc:chgData name="Xi, Nana /CN" userId="ae209bdc-4d8f-495b-b1f7-7de10ae675af" providerId="ADAL" clId="{821F97AE-D6DE-4A14-ACB5-46B3A1287AC8}" dt="2025-03-20T04:07:07.144" v="358" actId="113"/>
        <pc:sldMkLst>
          <pc:docMk/>
          <pc:sldMk cId="4246985430" sldId="2147376433"/>
        </pc:sldMkLst>
        <pc:spChg chg="mod">
          <ac:chgData name="Xi, Nana /CN" userId="ae209bdc-4d8f-495b-b1f7-7de10ae675af" providerId="ADAL" clId="{821F97AE-D6DE-4A14-ACB5-46B3A1287AC8}" dt="2025-03-20T04:07:07.144" v="358" actId="113"/>
          <ac:spMkLst>
            <pc:docMk/>
            <pc:sldMk cId="4246985430" sldId="2147376433"/>
            <ac:spMk id="8" creationId="{1E209A39-D191-4265-A197-3D5C5FD04200}"/>
          </ac:spMkLst>
        </pc:spChg>
      </pc:sldChg>
      <pc:sldChg chg="modSp mod">
        <pc:chgData name="Xi, Nana /CN" userId="ae209bdc-4d8f-495b-b1f7-7de10ae675af" providerId="ADAL" clId="{821F97AE-D6DE-4A14-ACB5-46B3A1287AC8}" dt="2025-03-20T04:06:44.582" v="354" actId="6549"/>
        <pc:sldMkLst>
          <pc:docMk/>
          <pc:sldMk cId="2331853025" sldId="2147376435"/>
        </pc:sldMkLst>
        <pc:spChg chg="mod">
          <ac:chgData name="Xi, Nana /CN" userId="ae209bdc-4d8f-495b-b1f7-7de10ae675af" providerId="ADAL" clId="{821F97AE-D6DE-4A14-ACB5-46B3A1287AC8}" dt="2025-03-20T04:06:44.582" v="354" actId="6549"/>
          <ac:spMkLst>
            <pc:docMk/>
            <pc:sldMk cId="2331853025" sldId="2147376435"/>
            <ac:spMk id="3" creationId="{9CCF2D44-65B0-3408-971E-7B168624C50C}"/>
          </ac:spMkLst>
        </pc:spChg>
        <pc:spChg chg="mod">
          <ac:chgData name="Xi, Nana /CN" userId="ae209bdc-4d8f-495b-b1f7-7de10ae675af" providerId="ADAL" clId="{821F97AE-D6DE-4A14-ACB5-46B3A1287AC8}" dt="2025-03-20T03:55:14.677" v="86" actId="1035"/>
          <ac:spMkLst>
            <pc:docMk/>
            <pc:sldMk cId="2331853025" sldId="2147376435"/>
            <ac:spMk id="6" creationId="{71D0F878-8C72-1656-D669-24AF131F5EE3}"/>
          </ac:spMkLst>
        </pc:spChg>
      </pc:sldChg>
      <pc:sldChg chg="modSp mod">
        <pc:chgData name="Xi, Nana /CN" userId="ae209bdc-4d8f-495b-b1f7-7de10ae675af" providerId="ADAL" clId="{821F97AE-D6DE-4A14-ACB5-46B3A1287AC8}" dt="2025-03-20T04:06:48.915" v="355" actId="6549"/>
        <pc:sldMkLst>
          <pc:docMk/>
          <pc:sldMk cId="4229166338" sldId="2147376437"/>
        </pc:sldMkLst>
        <pc:spChg chg="mod">
          <ac:chgData name="Xi, Nana /CN" userId="ae209bdc-4d8f-495b-b1f7-7de10ae675af" providerId="ADAL" clId="{821F97AE-D6DE-4A14-ACB5-46B3A1287AC8}" dt="2025-03-20T04:06:48.915" v="355" actId="6549"/>
          <ac:spMkLst>
            <pc:docMk/>
            <pc:sldMk cId="4229166338" sldId="2147376437"/>
            <ac:spMk id="3" creationId="{9CCF2D44-65B0-3408-971E-7B168624C50C}"/>
          </ac:spMkLst>
        </pc:spChg>
        <pc:spChg chg="mod">
          <ac:chgData name="Xi, Nana /CN" userId="ae209bdc-4d8f-495b-b1f7-7de10ae675af" providerId="ADAL" clId="{821F97AE-D6DE-4A14-ACB5-46B3A1287AC8}" dt="2025-03-20T03:54:17.855" v="63" actId="1038"/>
          <ac:spMkLst>
            <pc:docMk/>
            <pc:sldMk cId="4229166338" sldId="2147376437"/>
            <ac:spMk id="6" creationId="{71D0F878-8C72-1656-D669-24AF131F5EE3}"/>
          </ac:spMkLst>
        </pc:spChg>
      </pc:sldChg>
      <pc:sldChg chg="modSp mod">
        <pc:chgData name="Xi, Nana /CN" userId="ae209bdc-4d8f-495b-b1f7-7de10ae675af" providerId="ADAL" clId="{821F97AE-D6DE-4A14-ACB5-46B3A1287AC8}" dt="2025-03-20T04:06:51.879" v="356" actId="6549"/>
        <pc:sldMkLst>
          <pc:docMk/>
          <pc:sldMk cId="730022459" sldId="2147376438"/>
        </pc:sldMkLst>
        <pc:spChg chg="mod">
          <ac:chgData name="Xi, Nana /CN" userId="ae209bdc-4d8f-495b-b1f7-7de10ae675af" providerId="ADAL" clId="{821F97AE-D6DE-4A14-ACB5-46B3A1287AC8}" dt="2025-03-20T04:06:51.879" v="356" actId="6549"/>
          <ac:spMkLst>
            <pc:docMk/>
            <pc:sldMk cId="730022459" sldId="2147376438"/>
            <ac:spMk id="3" creationId="{9CCF2D44-65B0-3408-971E-7B168624C50C}"/>
          </ac:spMkLst>
        </pc:spChg>
        <pc:spChg chg="mod">
          <ac:chgData name="Xi, Nana /CN" userId="ae209bdc-4d8f-495b-b1f7-7de10ae675af" providerId="ADAL" clId="{821F97AE-D6DE-4A14-ACB5-46B3A1287AC8}" dt="2025-03-20T03:55:28.247" v="87" actId="948"/>
          <ac:spMkLst>
            <pc:docMk/>
            <pc:sldMk cId="730022459" sldId="2147376438"/>
            <ac:spMk id="4" creationId="{85B5161B-348C-638A-9948-26C0A3EAEE7B}"/>
          </ac:spMkLst>
        </pc:spChg>
      </pc:sldChg>
      <pc:sldChg chg="modSp mod">
        <pc:chgData name="Xi, Nana /CN" userId="ae209bdc-4d8f-495b-b1f7-7de10ae675af" providerId="ADAL" clId="{821F97AE-D6DE-4A14-ACB5-46B3A1287AC8}" dt="2025-03-20T03:55:34.489" v="88" actId="403"/>
        <pc:sldMkLst>
          <pc:docMk/>
          <pc:sldMk cId="505975562" sldId="2147376439"/>
        </pc:sldMkLst>
        <pc:spChg chg="mod">
          <ac:chgData name="Xi, Nana /CN" userId="ae209bdc-4d8f-495b-b1f7-7de10ae675af" providerId="ADAL" clId="{821F97AE-D6DE-4A14-ACB5-46B3A1287AC8}" dt="2025-03-20T03:55:34.489" v="88" actId="403"/>
          <ac:spMkLst>
            <pc:docMk/>
            <pc:sldMk cId="505975562" sldId="2147376439"/>
            <ac:spMk id="3" creationId="{9CCF2D44-65B0-3408-971E-7B168624C50C}"/>
          </ac:spMkLst>
        </pc:spChg>
      </pc:sldChg>
      <pc:sldChg chg="modSp mod">
        <pc:chgData name="Xi, Nana /CN" userId="ae209bdc-4d8f-495b-b1f7-7de10ae675af" providerId="ADAL" clId="{821F97AE-D6DE-4A14-ACB5-46B3A1287AC8}" dt="2025-03-20T03:55:39.323" v="89" actId="403"/>
        <pc:sldMkLst>
          <pc:docMk/>
          <pc:sldMk cId="1673379153" sldId="2147376441"/>
        </pc:sldMkLst>
        <pc:spChg chg="mod">
          <ac:chgData name="Xi, Nana /CN" userId="ae209bdc-4d8f-495b-b1f7-7de10ae675af" providerId="ADAL" clId="{821F97AE-D6DE-4A14-ACB5-46B3A1287AC8}" dt="2025-03-20T03:55:39.323" v="89" actId="403"/>
          <ac:spMkLst>
            <pc:docMk/>
            <pc:sldMk cId="1673379153" sldId="2147376441"/>
            <ac:spMk id="3" creationId="{9CCF2D44-65B0-3408-971E-7B168624C50C}"/>
          </ac:spMkLst>
        </pc:spChg>
      </pc:sldChg>
      <pc:sldChg chg="modSp mod">
        <pc:chgData name="Xi, Nana /CN" userId="ae209bdc-4d8f-495b-b1f7-7de10ae675af" providerId="ADAL" clId="{821F97AE-D6DE-4A14-ACB5-46B3A1287AC8}" dt="2025-03-20T04:06:22.952" v="352" actId="1076"/>
        <pc:sldMkLst>
          <pc:docMk/>
          <pc:sldMk cId="73919510" sldId="2147376442"/>
        </pc:sldMkLst>
        <pc:spChg chg="mod">
          <ac:chgData name="Xi, Nana /CN" userId="ae209bdc-4d8f-495b-b1f7-7de10ae675af" providerId="ADAL" clId="{821F97AE-D6DE-4A14-ACB5-46B3A1287AC8}" dt="2025-03-20T03:54:34.833" v="64" actId="403"/>
          <ac:spMkLst>
            <pc:docMk/>
            <pc:sldMk cId="73919510" sldId="2147376442"/>
            <ac:spMk id="3" creationId="{9CCF2D44-65B0-3408-971E-7B168624C50C}"/>
          </ac:spMkLst>
        </pc:spChg>
        <pc:picChg chg="mod">
          <ac:chgData name="Xi, Nana /CN" userId="ae209bdc-4d8f-495b-b1f7-7de10ae675af" providerId="ADAL" clId="{821F97AE-D6DE-4A14-ACB5-46B3A1287AC8}" dt="2025-03-20T04:06:22.952" v="352" actId="1076"/>
          <ac:picMkLst>
            <pc:docMk/>
            <pc:sldMk cId="73919510" sldId="2147376442"/>
            <ac:picMk id="11" creationId="{0AE95BD8-351F-93E4-8273-27EED030DF94}"/>
          </ac:picMkLst>
        </pc:picChg>
      </pc:sldChg>
      <pc:sldChg chg="addSp delSp modSp mod">
        <pc:chgData name="Xi, Nana /CN" userId="ae209bdc-4d8f-495b-b1f7-7de10ae675af" providerId="ADAL" clId="{821F97AE-D6DE-4A14-ACB5-46B3A1287AC8}" dt="2025-03-20T04:07:30.273" v="360" actId="6549"/>
        <pc:sldMkLst>
          <pc:docMk/>
          <pc:sldMk cId="2824793376" sldId="2147376444"/>
        </pc:sldMkLst>
        <pc:spChg chg="mod">
          <ac:chgData name="Xi, Nana /CN" userId="ae209bdc-4d8f-495b-b1f7-7de10ae675af" providerId="ADAL" clId="{821F97AE-D6DE-4A14-ACB5-46B3A1287AC8}" dt="2025-03-20T04:07:30.273" v="360" actId="6549"/>
          <ac:spMkLst>
            <pc:docMk/>
            <pc:sldMk cId="2824793376" sldId="2147376444"/>
            <ac:spMk id="4" creationId="{2BB29E21-F94B-610C-7DC1-EEE97761DD05}"/>
          </ac:spMkLst>
        </pc:spChg>
        <pc:spChg chg="del">
          <ac:chgData name="Xi, Nana /CN" userId="ae209bdc-4d8f-495b-b1f7-7de10ae675af" providerId="ADAL" clId="{821F97AE-D6DE-4A14-ACB5-46B3A1287AC8}" dt="2025-03-20T03:46:49.044" v="12" actId="478"/>
          <ac:spMkLst>
            <pc:docMk/>
            <pc:sldMk cId="2824793376" sldId="2147376444"/>
            <ac:spMk id="7" creationId="{1A8441F8-D0CC-3679-E2B0-7B00585A7CBA}"/>
          </ac:spMkLst>
        </pc:spChg>
        <pc:spChg chg="del">
          <ac:chgData name="Xi, Nana /CN" userId="ae209bdc-4d8f-495b-b1f7-7de10ae675af" providerId="ADAL" clId="{821F97AE-D6DE-4A14-ACB5-46B3A1287AC8}" dt="2025-03-20T03:46:49.044" v="12" actId="478"/>
          <ac:spMkLst>
            <pc:docMk/>
            <pc:sldMk cId="2824793376" sldId="2147376444"/>
            <ac:spMk id="10" creationId="{6F9E5DA0-0CF9-F968-3CF1-3B7D5311CE77}"/>
          </ac:spMkLst>
        </pc:spChg>
        <pc:spChg chg="mod">
          <ac:chgData name="Xi, Nana /CN" userId="ae209bdc-4d8f-495b-b1f7-7de10ae675af" providerId="ADAL" clId="{821F97AE-D6DE-4A14-ACB5-46B3A1287AC8}" dt="2025-03-20T03:46:46.441" v="11"/>
          <ac:spMkLst>
            <pc:docMk/>
            <pc:sldMk cId="2824793376" sldId="2147376444"/>
            <ac:spMk id="11" creationId="{B673530C-20CA-FBBA-56D1-3DC1AC613BCA}"/>
          </ac:spMkLst>
        </pc:spChg>
        <pc:spChg chg="mod">
          <ac:chgData name="Xi, Nana /CN" userId="ae209bdc-4d8f-495b-b1f7-7de10ae675af" providerId="ADAL" clId="{821F97AE-D6DE-4A14-ACB5-46B3A1287AC8}" dt="2025-03-20T03:46:46.441" v="11"/>
          <ac:spMkLst>
            <pc:docMk/>
            <pc:sldMk cId="2824793376" sldId="2147376444"/>
            <ac:spMk id="12" creationId="{7C98B261-93E5-74FF-FBE8-E1C14287FAD3}"/>
          </ac:spMkLst>
        </pc:spChg>
        <pc:spChg chg="mod">
          <ac:chgData name="Xi, Nana /CN" userId="ae209bdc-4d8f-495b-b1f7-7de10ae675af" providerId="ADAL" clId="{821F97AE-D6DE-4A14-ACB5-46B3A1287AC8}" dt="2025-03-20T03:46:49.537" v="13"/>
          <ac:spMkLst>
            <pc:docMk/>
            <pc:sldMk cId="2824793376" sldId="2147376444"/>
            <ac:spMk id="14" creationId="{0620F6EA-AC7F-608F-5040-2A891D00A532}"/>
          </ac:spMkLst>
        </pc:spChg>
        <pc:spChg chg="mod">
          <ac:chgData name="Xi, Nana /CN" userId="ae209bdc-4d8f-495b-b1f7-7de10ae675af" providerId="ADAL" clId="{821F97AE-D6DE-4A14-ACB5-46B3A1287AC8}" dt="2025-03-20T03:46:59.702" v="30" actId="20577"/>
          <ac:spMkLst>
            <pc:docMk/>
            <pc:sldMk cId="2824793376" sldId="2147376444"/>
            <ac:spMk id="15" creationId="{BA82CD57-B122-1DF8-833D-CF96A6C9F347}"/>
          </ac:spMkLst>
        </pc:spChg>
        <pc:grpChg chg="add mod">
          <ac:chgData name="Xi, Nana /CN" userId="ae209bdc-4d8f-495b-b1f7-7de10ae675af" providerId="ADAL" clId="{821F97AE-D6DE-4A14-ACB5-46B3A1287AC8}" dt="2025-03-20T03:46:46.441" v="11"/>
          <ac:grpSpMkLst>
            <pc:docMk/>
            <pc:sldMk cId="2824793376" sldId="2147376444"/>
            <ac:grpSpMk id="6" creationId="{CC4E6542-0D93-D652-C15F-AF84DA1E9E79}"/>
          </ac:grpSpMkLst>
        </pc:grpChg>
        <pc:grpChg chg="add mod">
          <ac:chgData name="Xi, Nana /CN" userId="ae209bdc-4d8f-495b-b1f7-7de10ae675af" providerId="ADAL" clId="{821F97AE-D6DE-4A14-ACB5-46B3A1287AC8}" dt="2025-03-20T03:46:49.537" v="13"/>
          <ac:grpSpMkLst>
            <pc:docMk/>
            <pc:sldMk cId="2824793376" sldId="2147376444"/>
            <ac:grpSpMk id="13" creationId="{EAFD4F32-C590-D143-19C1-2EB31F6D0A32}"/>
          </ac:grpSpMkLst>
        </pc:grpChg>
      </pc:sldChg>
      <pc:sldChg chg="addSp delSp modSp mod">
        <pc:chgData name="Xi, Nana /CN" userId="ae209bdc-4d8f-495b-b1f7-7de10ae675af" providerId="ADAL" clId="{821F97AE-D6DE-4A14-ACB5-46B3A1287AC8}" dt="2025-03-20T04:07:39.037" v="362" actId="6549"/>
        <pc:sldMkLst>
          <pc:docMk/>
          <pc:sldMk cId="674690702" sldId="2147376445"/>
        </pc:sldMkLst>
        <pc:spChg chg="mod">
          <ac:chgData name="Xi, Nana /CN" userId="ae209bdc-4d8f-495b-b1f7-7de10ae675af" providerId="ADAL" clId="{821F97AE-D6DE-4A14-ACB5-46B3A1287AC8}" dt="2025-03-20T04:07:39.037" v="362" actId="6549"/>
          <ac:spMkLst>
            <pc:docMk/>
            <pc:sldMk cId="674690702" sldId="2147376445"/>
            <ac:spMk id="4" creationId="{2BB29E21-F94B-610C-7DC1-EEE97761DD05}"/>
          </ac:spMkLst>
        </pc:spChg>
        <pc:spChg chg="del">
          <ac:chgData name="Xi, Nana /CN" userId="ae209bdc-4d8f-495b-b1f7-7de10ae675af" providerId="ADAL" clId="{821F97AE-D6DE-4A14-ACB5-46B3A1287AC8}" dt="2025-03-20T03:47:08.731" v="31" actId="478"/>
          <ac:spMkLst>
            <pc:docMk/>
            <pc:sldMk cId="674690702" sldId="2147376445"/>
            <ac:spMk id="5" creationId="{6F580649-C921-93C9-9769-E291246EBE62}"/>
          </ac:spMkLst>
        </pc:spChg>
        <pc:spChg chg="del">
          <ac:chgData name="Xi, Nana /CN" userId="ae209bdc-4d8f-495b-b1f7-7de10ae675af" providerId="ADAL" clId="{821F97AE-D6DE-4A14-ACB5-46B3A1287AC8}" dt="2025-03-20T03:47:10.928" v="32" actId="478"/>
          <ac:spMkLst>
            <pc:docMk/>
            <pc:sldMk cId="674690702" sldId="2147376445"/>
            <ac:spMk id="6" creationId="{39E77902-E41F-E15C-EE8B-0C717608C377}"/>
          </ac:spMkLst>
        </pc:spChg>
        <pc:spChg chg="mod">
          <ac:chgData name="Xi, Nana /CN" userId="ae209bdc-4d8f-495b-b1f7-7de10ae675af" providerId="ADAL" clId="{821F97AE-D6DE-4A14-ACB5-46B3A1287AC8}" dt="2025-03-20T03:47:11.346" v="33"/>
          <ac:spMkLst>
            <pc:docMk/>
            <pc:sldMk cId="674690702" sldId="2147376445"/>
            <ac:spMk id="10" creationId="{DFDB605E-6AA1-DA5B-FC73-17642F0CEB7C}"/>
          </ac:spMkLst>
        </pc:spChg>
        <pc:spChg chg="mod">
          <ac:chgData name="Xi, Nana /CN" userId="ae209bdc-4d8f-495b-b1f7-7de10ae675af" providerId="ADAL" clId="{821F97AE-D6DE-4A14-ACB5-46B3A1287AC8}" dt="2025-03-20T03:47:11.346" v="33"/>
          <ac:spMkLst>
            <pc:docMk/>
            <pc:sldMk cId="674690702" sldId="2147376445"/>
            <ac:spMk id="11" creationId="{DB6208BA-A19E-5EF8-9858-C2C94DF0C376}"/>
          </ac:spMkLst>
        </pc:spChg>
        <pc:grpChg chg="add mod">
          <ac:chgData name="Xi, Nana /CN" userId="ae209bdc-4d8f-495b-b1f7-7de10ae675af" providerId="ADAL" clId="{821F97AE-D6DE-4A14-ACB5-46B3A1287AC8}" dt="2025-03-20T03:47:11.346" v="33"/>
          <ac:grpSpMkLst>
            <pc:docMk/>
            <pc:sldMk cId="674690702" sldId="2147376445"/>
            <ac:grpSpMk id="7" creationId="{B615D87B-E95D-5EE0-E03F-870A48E87EA6}"/>
          </ac:grpSpMkLst>
        </pc:grpChg>
      </pc:sldChg>
      <pc:sldChg chg="modSp mod">
        <pc:chgData name="Xi, Nana /CN" userId="ae209bdc-4d8f-495b-b1f7-7de10ae675af" providerId="ADAL" clId="{821F97AE-D6DE-4A14-ACB5-46B3A1287AC8}" dt="2025-03-20T04:06:08.433" v="350"/>
        <pc:sldMkLst>
          <pc:docMk/>
          <pc:sldMk cId="2712491879" sldId="2147376446"/>
        </pc:sldMkLst>
        <pc:spChg chg="mod">
          <ac:chgData name="Xi, Nana /CN" userId="ae209bdc-4d8f-495b-b1f7-7de10ae675af" providerId="ADAL" clId="{821F97AE-D6DE-4A14-ACB5-46B3A1287AC8}" dt="2025-03-20T04:06:08.433" v="350"/>
          <ac:spMkLst>
            <pc:docMk/>
            <pc:sldMk cId="2712491879" sldId="2147376446"/>
            <ac:spMk id="2" creationId="{D73B230C-1EC0-DB92-63AE-5824227C67CC}"/>
          </ac:spMkLst>
        </pc:spChg>
      </pc:sldChg>
      <pc:sldChg chg="modSp mod">
        <pc:chgData name="Xi, Nana /CN" userId="ae209bdc-4d8f-495b-b1f7-7de10ae675af" providerId="ADAL" clId="{821F97AE-D6DE-4A14-ACB5-46B3A1287AC8}" dt="2025-03-20T03:53:14.313" v="54" actId="948"/>
        <pc:sldMkLst>
          <pc:docMk/>
          <pc:sldMk cId="1917435718" sldId="2147376449"/>
        </pc:sldMkLst>
        <pc:spChg chg="mod">
          <ac:chgData name="Xi, Nana /CN" userId="ae209bdc-4d8f-495b-b1f7-7de10ae675af" providerId="ADAL" clId="{821F97AE-D6DE-4A14-ACB5-46B3A1287AC8}" dt="2025-03-20T03:53:14.313" v="54" actId="948"/>
          <ac:spMkLst>
            <pc:docMk/>
            <pc:sldMk cId="1917435718" sldId="2147376449"/>
            <ac:spMk id="7" creationId="{65F814CB-5B73-E735-B4BB-6DA368B69E0B}"/>
          </ac:spMkLst>
        </pc:spChg>
        <pc:spChg chg="mod">
          <ac:chgData name="Xi, Nana /CN" userId="ae209bdc-4d8f-495b-b1f7-7de10ae675af" providerId="ADAL" clId="{821F97AE-D6DE-4A14-ACB5-46B3A1287AC8}" dt="2025-03-20T03:53:07.959" v="53" actId="948"/>
          <ac:spMkLst>
            <pc:docMk/>
            <pc:sldMk cId="1917435718" sldId="2147376449"/>
            <ac:spMk id="10" creationId="{56AE4236-ED79-531E-9E92-5A700945BA2E}"/>
          </ac:spMkLst>
        </pc:spChg>
        <pc:grpChg chg="mod">
          <ac:chgData name="Xi, Nana /CN" userId="ae209bdc-4d8f-495b-b1f7-7de10ae675af" providerId="ADAL" clId="{821F97AE-D6DE-4A14-ACB5-46B3A1287AC8}" dt="2025-03-20T03:52:28.376" v="49" actId="14100"/>
          <ac:grpSpMkLst>
            <pc:docMk/>
            <pc:sldMk cId="1917435718" sldId="2147376449"/>
            <ac:grpSpMk id="15" creationId="{4A903DA0-D66D-0C5C-6334-AC0CF213B4BE}"/>
          </ac:grpSpMkLst>
        </pc:grpChg>
      </pc:sldChg>
      <pc:sldChg chg="addSp delSp modSp mod">
        <pc:chgData name="Xi, Nana /CN" userId="ae209bdc-4d8f-495b-b1f7-7de10ae675af" providerId="ADAL" clId="{821F97AE-D6DE-4A14-ACB5-46B3A1287AC8}" dt="2025-03-20T04:04:32.186" v="307" actId="313"/>
        <pc:sldMkLst>
          <pc:docMk/>
          <pc:sldMk cId="1639935486" sldId="2147376451"/>
        </pc:sldMkLst>
        <pc:spChg chg="mod">
          <ac:chgData name="Xi, Nana /CN" userId="ae209bdc-4d8f-495b-b1f7-7de10ae675af" providerId="ADAL" clId="{821F97AE-D6DE-4A14-ACB5-46B3A1287AC8}" dt="2025-03-20T03:58:23.355" v="166" actId="20577"/>
          <ac:spMkLst>
            <pc:docMk/>
            <pc:sldMk cId="1639935486" sldId="2147376451"/>
            <ac:spMk id="3" creationId="{F59D084E-7B0D-8880-7D8B-863743756E96}"/>
          </ac:spMkLst>
        </pc:spChg>
        <pc:spChg chg="mod">
          <ac:chgData name="Xi, Nana /CN" userId="ae209bdc-4d8f-495b-b1f7-7de10ae675af" providerId="ADAL" clId="{821F97AE-D6DE-4A14-ACB5-46B3A1287AC8}" dt="2025-03-20T04:00:14.427" v="185" actId="1037"/>
          <ac:spMkLst>
            <pc:docMk/>
            <pc:sldMk cId="1639935486" sldId="2147376451"/>
            <ac:spMk id="5" creationId="{34EF8C6F-1C75-D1A8-217B-6E17C3F40CC0}"/>
          </ac:spMkLst>
        </pc:spChg>
        <pc:spChg chg="del mod">
          <ac:chgData name="Xi, Nana /CN" userId="ae209bdc-4d8f-495b-b1f7-7de10ae675af" providerId="ADAL" clId="{821F97AE-D6DE-4A14-ACB5-46B3A1287AC8}" dt="2025-03-20T04:02:22.243" v="272" actId="478"/>
          <ac:spMkLst>
            <pc:docMk/>
            <pc:sldMk cId="1639935486" sldId="2147376451"/>
            <ac:spMk id="6" creationId="{979E34C9-0C60-C798-FD6A-C533F02A509D}"/>
          </ac:spMkLst>
        </pc:spChg>
        <pc:spChg chg="add del mod">
          <ac:chgData name="Xi, Nana /CN" userId="ae209bdc-4d8f-495b-b1f7-7de10ae675af" providerId="ADAL" clId="{821F97AE-D6DE-4A14-ACB5-46B3A1287AC8}" dt="2025-03-20T04:00:31.461" v="188" actId="478"/>
          <ac:spMkLst>
            <pc:docMk/>
            <pc:sldMk cId="1639935486" sldId="2147376451"/>
            <ac:spMk id="7" creationId="{8762871E-A07F-1FFD-5E3F-51DCDCB17A28}"/>
          </ac:spMkLst>
        </pc:spChg>
        <pc:spChg chg="mod">
          <ac:chgData name="Xi, Nana /CN" userId="ae209bdc-4d8f-495b-b1f7-7de10ae675af" providerId="ADAL" clId="{821F97AE-D6DE-4A14-ACB5-46B3A1287AC8}" dt="2025-03-20T04:03:08.111" v="289" actId="1076"/>
          <ac:spMkLst>
            <pc:docMk/>
            <pc:sldMk cId="1639935486" sldId="2147376451"/>
            <ac:spMk id="8" creationId="{5DDD4AB4-0648-7FEE-6C0B-D62C8D61F103}"/>
          </ac:spMkLst>
        </pc:spChg>
        <pc:spChg chg="mod">
          <ac:chgData name="Xi, Nana /CN" userId="ae209bdc-4d8f-495b-b1f7-7de10ae675af" providerId="ADAL" clId="{821F97AE-D6DE-4A14-ACB5-46B3A1287AC8}" dt="2025-03-20T04:02:39.455" v="274" actId="108"/>
          <ac:spMkLst>
            <pc:docMk/>
            <pc:sldMk cId="1639935486" sldId="2147376451"/>
            <ac:spMk id="9" creationId="{0FCD7A1A-AC55-4A33-BF10-0F487B76AD7E}"/>
          </ac:spMkLst>
        </pc:spChg>
        <pc:spChg chg="mod">
          <ac:chgData name="Xi, Nana /CN" userId="ae209bdc-4d8f-495b-b1f7-7de10ae675af" providerId="ADAL" clId="{821F97AE-D6DE-4A14-ACB5-46B3A1287AC8}" dt="2025-03-20T04:02:06.069" v="267" actId="1076"/>
          <ac:spMkLst>
            <pc:docMk/>
            <pc:sldMk cId="1639935486" sldId="2147376451"/>
            <ac:spMk id="10" creationId="{EC375C8D-A855-DE24-C504-783A7DE3E14E}"/>
          </ac:spMkLst>
        </pc:spChg>
        <pc:spChg chg="mod">
          <ac:chgData name="Xi, Nana /CN" userId="ae209bdc-4d8f-495b-b1f7-7de10ae675af" providerId="ADAL" clId="{821F97AE-D6DE-4A14-ACB5-46B3A1287AC8}" dt="2025-03-20T04:03:40.925" v="294" actId="1036"/>
          <ac:spMkLst>
            <pc:docMk/>
            <pc:sldMk cId="1639935486" sldId="2147376451"/>
            <ac:spMk id="11" creationId="{332D7015-9117-5CD1-E415-2C1F2F5315B5}"/>
          </ac:spMkLst>
        </pc:spChg>
        <pc:spChg chg="mod">
          <ac:chgData name="Xi, Nana /CN" userId="ae209bdc-4d8f-495b-b1f7-7de10ae675af" providerId="ADAL" clId="{821F97AE-D6DE-4A14-ACB5-46B3A1287AC8}" dt="2025-03-20T04:01:54.482" v="258" actId="1036"/>
          <ac:spMkLst>
            <pc:docMk/>
            <pc:sldMk cId="1639935486" sldId="2147376451"/>
            <ac:spMk id="12" creationId="{8EA586A4-D4D8-37C1-76E8-5D0FBC46004A}"/>
          </ac:spMkLst>
        </pc:spChg>
        <pc:spChg chg="mod">
          <ac:chgData name="Xi, Nana /CN" userId="ae209bdc-4d8f-495b-b1f7-7de10ae675af" providerId="ADAL" clId="{821F97AE-D6DE-4A14-ACB5-46B3A1287AC8}" dt="2025-03-20T04:04:06.537" v="296" actId="164"/>
          <ac:spMkLst>
            <pc:docMk/>
            <pc:sldMk cId="1639935486" sldId="2147376451"/>
            <ac:spMk id="13" creationId="{94975F72-6EF1-9714-6D0D-C7D7A791824F}"/>
          </ac:spMkLst>
        </pc:spChg>
        <pc:spChg chg="mod">
          <ac:chgData name="Xi, Nana /CN" userId="ae209bdc-4d8f-495b-b1f7-7de10ae675af" providerId="ADAL" clId="{821F97AE-D6DE-4A14-ACB5-46B3A1287AC8}" dt="2025-03-20T04:04:32.186" v="307" actId="313"/>
          <ac:spMkLst>
            <pc:docMk/>
            <pc:sldMk cId="1639935486" sldId="2147376451"/>
            <ac:spMk id="14" creationId="{FA876235-40AA-5691-5B40-4EFE32A8B0BC}"/>
          </ac:spMkLst>
        </pc:spChg>
        <pc:spChg chg="add del mod">
          <ac:chgData name="Xi, Nana /CN" userId="ae209bdc-4d8f-495b-b1f7-7de10ae675af" providerId="ADAL" clId="{821F97AE-D6DE-4A14-ACB5-46B3A1287AC8}" dt="2025-03-20T04:00:43.554" v="193" actId="478"/>
          <ac:spMkLst>
            <pc:docMk/>
            <pc:sldMk cId="1639935486" sldId="2147376451"/>
            <ac:spMk id="16" creationId="{415ABD5B-2480-800D-8E93-22D0234E52CC}"/>
          </ac:spMkLst>
        </pc:spChg>
        <pc:spChg chg="add del mod">
          <ac:chgData name="Xi, Nana /CN" userId="ae209bdc-4d8f-495b-b1f7-7de10ae675af" providerId="ADAL" clId="{821F97AE-D6DE-4A14-ACB5-46B3A1287AC8}" dt="2025-03-20T04:00:57.746" v="198" actId="478"/>
          <ac:spMkLst>
            <pc:docMk/>
            <pc:sldMk cId="1639935486" sldId="2147376451"/>
            <ac:spMk id="17" creationId="{733EEF50-CE0F-A85D-6130-FED89C60661C}"/>
          </ac:spMkLst>
        </pc:spChg>
        <pc:grpChg chg="mod">
          <ac:chgData name="Xi, Nana /CN" userId="ae209bdc-4d8f-495b-b1f7-7de10ae675af" providerId="ADAL" clId="{821F97AE-D6DE-4A14-ACB5-46B3A1287AC8}" dt="2025-03-20T04:03:22.012" v="291" actId="1076"/>
          <ac:grpSpMkLst>
            <pc:docMk/>
            <pc:sldMk cId="1639935486" sldId="2147376451"/>
            <ac:grpSpMk id="2" creationId="{B5CC6DB7-7D56-553E-0C90-241B992D1027}"/>
          </ac:grpSpMkLst>
        </pc:grpChg>
        <pc:grpChg chg="add mod">
          <ac:chgData name="Xi, Nana /CN" userId="ae209bdc-4d8f-495b-b1f7-7de10ae675af" providerId="ADAL" clId="{821F97AE-D6DE-4A14-ACB5-46B3A1287AC8}" dt="2025-03-20T04:04:10.999" v="298" actId="1036"/>
          <ac:grpSpMkLst>
            <pc:docMk/>
            <pc:sldMk cId="1639935486" sldId="2147376451"/>
            <ac:grpSpMk id="18" creationId="{811FC30E-839C-5EE5-5E31-987A080B04AB}"/>
          </ac:grpSpMkLst>
        </pc:grpChg>
      </pc:sldChg>
      <pc:sldChg chg="modSp mod">
        <pc:chgData name="Xi, Nana /CN" userId="ae209bdc-4d8f-495b-b1f7-7de10ae675af" providerId="ADAL" clId="{821F97AE-D6DE-4A14-ACB5-46B3A1287AC8}" dt="2025-03-20T04:05:35.017" v="344" actId="20577"/>
        <pc:sldMkLst>
          <pc:docMk/>
          <pc:sldMk cId="69351710" sldId="2147376454"/>
        </pc:sldMkLst>
        <pc:spChg chg="mod">
          <ac:chgData name="Xi, Nana /CN" userId="ae209bdc-4d8f-495b-b1f7-7de10ae675af" providerId="ADAL" clId="{821F97AE-D6DE-4A14-ACB5-46B3A1287AC8}" dt="2025-03-20T04:05:35.017" v="344" actId="20577"/>
          <ac:spMkLst>
            <pc:docMk/>
            <pc:sldMk cId="69351710" sldId="2147376454"/>
            <ac:spMk id="2" creationId="{54DAAEF1-9AFF-C425-C422-42AD03FB1F3D}"/>
          </ac:spMkLst>
        </pc:spChg>
      </pc:sldChg>
      <pc:sldChg chg="modSp mod">
        <pc:chgData name="Xi, Nana /CN" userId="ae209bdc-4d8f-495b-b1f7-7de10ae675af" providerId="ADAL" clId="{821F97AE-D6DE-4A14-ACB5-46B3A1287AC8}" dt="2025-03-20T04:05:27.678" v="342" actId="20577"/>
        <pc:sldMkLst>
          <pc:docMk/>
          <pc:sldMk cId="3908132269" sldId="2147376455"/>
        </pc:sldMkLst>
        <pc:spChg chg="mod">
          <ac:chgData name="Xi, Nana /CN" userId="ae209bdc-4d8f-495b-b1f7-7de10ae675af" providerId="ADAL" clId="{821F97AE-D6DE-4A14-ACB5-46B3A1287AC8}" dt="2025-03-20T04:05:27.678" v="342" actId="20577"/>
          <ac:spMkLst>
            <pc:docMk/>
            <pc:sldMk cId="3908132269" sldId="2147376455"/>
            <ac:spMk id="2" creationId="{54DAAEF1-9AFF-C425-C422-42AD03FB1F3D}"/>
          </ac:spMkLst>
        </pc:spChg>
        <pc:spChg chg="mod">
          <ac:chgData name="Xi, Nana /CN" userId="ae209bdc-4d8f-495b-b1f7-7de10ae675af" providerId="ADAL" clId="{821F97AE-D6DE-4A14-ACB5-46B3A1287AC8}" dt="2025-03-20T03:56:53.697" v="105" actId="207"/>
          <ac:spMkLst>
            <pc:docMk/>
            <pc:sldMk cId="3908132269" sldId="2147376455"/>
            <ac:spMk id="14" creationId="{4EB67EB1-8AD0-50F0-ABFC-4AA6D938DF6B}"/>
          </ac:spMkLst>
        </pc:spChg>
        <pc:picChg chg="mod">
          <ac:chgData name="Xi, Nana /CN" userId="ae209bdc-4d8f-495b-b1f7-7de10ae675af" providerId="ADAL" clId="{821F97AE-D6DE-4A14-ACB5-46B3A1287AC8}" dt="2025-03-20T03:56:39.999" v="104" actId="1035"/>
          <ac:picMkLst>
            <pc:docMk/>
            <pc:sldMk cId="3908132269" sldId="2147376455"/>
            <ac:picMk id="5" creationId="{DA628758-BD9B-3AC8-5302-264C0BF7DEFC}"/>
          </ac:picMkLst>
        </pc:picChg>
        <pc:picChg chg="mod ord">
          <ac:chgData name="Xi, Nana /CN" userId="ae209bdc-4d8f-495b-b1f7-7de10ae675af" providerId="ADAL" clId="{821F97AE-D6DE-4A14-ACB5-46B3A1287AC8}" dt="2025-03-20T03:56:35.918" v="96" actId="1035"/>
          <ac:picMkLst>
            <pc:docMk/>
            <pc:sldMk cId="3908132269" sldId="2147376455"/>
            <ac:picMk id="11" creationId="{8A19CD60-9805-B8AD-955E-C93900628B82}"/>
          </ac:picMkLst>
        </pc:picChg>
      </pc:sldChg>
      <pc:sldChg chg="modSp mod">
        <pc:chgData name="Xi, Nana /CN" userId="ae209bdc-4d8f-495b-b1f7-7de10ae675af" providerId="ADAL" clId="{821F97AE-D6DE-4A14-ACB5-46B3A1287AC8}" dt="2025-03-20T04:05:03.074" v="311" actId="20577"/>
        <pc:sldMkLst>
          <pc:docMk/>
          <pc:sldMk cId="3853016357" sldId="2147376456"/>
        </pc:sldMkLst>
        <pc:spChg chg="mod">
          <ac:chgData name="Xi, Nana /CN" userId="ae209bdc-4d8f-495b-b1f7-7de10ae675af" providerId="ADAL" clId="{821F97AE-D6DE-4A14-ACB5-46B3A1287AC8}" dt="2025-03-20T04:05:03.074" v="311" actId="20577"/>
          <ac:spMkLst>
            <pc:docMk/>
            <pc:sldMk cId="3853016357" sldId="2147376456"/>
            <ac:spMk id="2" creationId="{54DAAEF1-9AFF-C425-C422-42AD03FB1F3D}"/>
          </ac:spMkLst>
        </pc:spChg>
      </pc:sldChg>
      <pc:sldChg chg="modSp mod">
        <pc:chgData name="Xi, Nana /CN" userId="ae209bdc-4d8f-495b-b1f7-7de10ae675af" providerId="ADAL" clId="{821F97AE-D6DE-4A14-ACB5-46B3A1287AC8}" dt="2025-03-20T04:05:19.040" v="340" actId="1035"/>
        <pc:sldMkLst>
          <pc:docMk/>
          <pc:sldMk cId="4245079200" sldId="2147376457"/>
        </pc:sldMkLst>
        <pc:spChg chg="mod">
          <ac:chgData name="Xi, Nana /CN" userId="ae209bdc-4d8f-495b-b1f7-7de10ae675af" providerId="ADAL" clId="{821F97AE-D6DE-4A14-ACB5-46B3A1287AC8}" dt="2025-03-20T04:05:06.953" v="313" actId="20577"/>
          <ac:spMkLst>
            <pc:docMk/>
            <pc:sldMk cId="4245079200" sldId="2147376457"/>
            <ac:spMk id="2" creationId="{54DAAEF1-9AFF-C425-C422-42AD03FB1F3D}"/>
          </ac:spMkLst>
        </pc:spChg>
        <pc:spChg chg="mod">
          <ac:chgData name="Xi, Nana /CN" userId="ae209bdc-4d8f-495b-b1f7-7de10ae675af" providerId="ADAL" clId="{821F97AE-D6DE-4A14-ACB5-46B3A1287AC8}" dt="2025-03-20T04:05:11.712" v="314" actId="2710"/>
          <ac:spMkLst>
            <pc:docMk/>
            <pc:sldMk cId="4245079200" sldId="2147376457"/>
            <ac:spMk id="5" creationId="{EBC90D76-ACC6-D613-33AC-23AF1CF297A0}"/>
          </ac:spMkLst>
        </pc:spChg>
        <pc:picChg chg="mod">
          <ac:chgData name="Xi, Nana /CN" userId="ae209bdc-4d8f-495b-b1f7-7de10ae675af" providerId="ADAL" clId="{821F97AE-D6DE-4A14-ACB5-46B3A1287AC8}" dt="2025-03-20T04:05:19.040" v="340" actId="1035"/>
          <ac:picMkLst>
            <pc:docMk/>
            <pc:sldMk cId="4245079200" sldId="2147376457"/>
            <ac:picMk id="7" creationId="{05149360-79B9-E24C-A6E2-7866A6022E77}"/>
          </ac:picMkLst>
        </pc:picChg>
      </pc:sldChg>
      <pc:sldChg chg="modSp mod">
        <pc:chgData name="Xi, Nana /CN" userId="ae209bdc-4d8f-495b-b1f7-7de10ae675af" providerId="ADAL" clId="{821F97AE-D6DE-4A14-ACB5-46B3A1287AC8}" dt="2025-03-20T04:04:58.837" v="309" actId="20577"/>
        <pc:sldMkLst>
          <pc:docMk/>
          <pc:sldMk cId="2037788145" sldId="2147376462"/>
        </pc:sldMkLst>
        <pc:spChg chg="mod">
          <ac:chgData name="Xi, Nana /CN" userId="ae209bdc-4d8f-495b-b1f7-7de10ae675af" providerId="ADAL" clId="{821F97AE-D6DE-4A14-ACB5-46B3A1287AC8}" dt="2025-03-20T04:04:58.837" v="309" actId="20577"/>
          <ac:spMkLst>
            <pc:docMk/>
            <pc:sldMk cId="2037788145" sldId="2147376462"/>
            <ac:spMk id="4" creationId="{0D8A6311-CAF0-181D-A95C-2585268FFBD0}"/>
          </ac:spMkLst>
        </pc:spChg>
      </pc:sldChg>
      <pc:sldChg chg="modSp mod">
        <pc:chgData name="Xi, Nana /CN" userId="ae209bdc-4d8f-495b-b1f7-7de10ae675af" providerId="ADAL" clId="{821F97AE-D6DE-4A14-ACB5-46B3A1287AC8}" dt="2025-03-20T04:00:06.815" v="182" actId="207"/>
        <pc:sldMkLst>
          <pc:docMk/>
          <pc:sldMk cId="1140018203" sldId="2147376470"/>
        </pc:sldMkLst>
        <pc:spChg chg="mod">
          <ac:chgData name="Xi, Nana /CN" userId="ae209bdc-4d8f-495b-b1f7-7de10ae675af" providerId="ADAL" clId="{821F97AE-D6DE-4A14-ACB5-46B3A1287AC8}" dt="2025-03-20T04:00:06.815" v="182" actId="207"/>
          <ac:spMkLst>
            <pc:docMk/>
            <pc:sldMk cId="1140018203" sldId="2147376470"/>
            <ac:spMk id="5" creationId="{F11557E1-DBAC-012C-1ECC-CB10B6272ABD}"/>
          </ac:spMkLst>
        </pc:spChg>
      </pc:sldChg>
      <pc:sldChg chg="modSp mod">
        <pc:chgData name="Xi, Nana /CN" userId="ae209bdc-4d8f-495b-b1f7-7de10ae675af" providerId="ADAL" clId="{821F97AE-D6DE-4A14-ACB5-46B3A1287AC8}" dt="2025-03-20T03:56:12.012" v="93" actId="12"/>
        <pc:sldMkLst>
          <pc:docMk/>
          <pc:sldMk cId="1191020517" sldId="2147376471"/>
        </pc:sldMkLst>
        <pc:spChg chg="mod">
          <ac:chgData name="Xi, Nana /CN" userId="ae209bdc-4d8f-495b-b1f7-7de10ae675af" providerId="ADAL" clId="{821F97AE-D6DE-4A14-ACB5-46B3A1287AC8}" dt="2025-03-20T03:56:00.016" v="92" actId="20577"/>
          <ac:spMkLst>
            <pc:docMk/>
            <pc:sldMk cId="1191020517" sldId="2147376471"/>
            <ac:spMk id="16" creationId="{6AFA667F-85A9-CD0A-98CE-F3AFC3F40A52}"/>
          </ac:spMkLst>
        </pc:spChg>
        <pc:spChg chg="mod">
          <ac:chgData name="Xi, Nana /CN" userId="ae209bdc-4d8f-495b-b1f7-7de10ae675af" providerId="ADAL" clId="{821F97AE-D6DE-4A14-ACB5-46B3A1287AC8}" dt="2025-03-20T03:56:12.012" v="93" actId="12"/>
          <ac:spMkLst>
            <pc:docMk/>
            <pc:sldMk cId="1191020517" sldId="2147376471"/>
            <ac:spMk id="33" creationId="{5191EAB9-052E-6D3F-7B3C-EEE891943CC4}"/>
          </ac:spMkLst>
        </pc:spChg>
      </pc:sldChg>
      <pc:sldChg chg="modSp mod">
        <pc:chgData name="Xi, Nana /CN" userId="ae209bdc-4d8f-495b-b1f7-7de10ae675af" providerId="ADAL" clId="{821F97AE-D6DE-4A14-ACB5-46B3A1287AC8}" dt="2025-03-20T04:06:41.340" v="353" actId="6549"/>
        <pc:sldMkLst>
          <pc:docMk/>
          <pc:sldMk cId="18501072" sldId="2147376474"/>
        </pc:sldMkLst>
        <pc:spChg chg="mod">
          <ac:chgData name="Xi, Nana /CN" userId="ae209bdc-4d8f-495b-b1f7-7de10ae675af" providerId="ADAL" clId="{821F97AE-D6DE-4A14-ACB5-46B3A1287AC8}" dt="2025-03-20T04:06:41.340" v="353" actId="6549"/>
          <ac:spMkLst>
            <pc:docMk/>
            <pc:sldMk cId="18501072" sldId="2147376474"/>
            <ac:spMk id="3" creationId="{9CCF2D44-65B0-3408-971E-7B168624C50C}"/>
          </ac:spMkLst>
        </pc:spChg>
        <pc:spChg chg="mod">
          <ac:chgData name="Xi, Nana /CN" userId="ae209bdc-4d8f-495b-b1f7-7de10ae675af" providerId="ADAL" clId="{821F97AE-D6DE-4A14-ACB5-46B3A1287AC8}" dt="2025-03-20T03:55:00.490" v="78" actId="1038"/>
          <ac:spMkLst>
            <pc:docMk/>
            <pc:sldMk cId="18501072" sldId="2147376474"/>
            <ac:spMk id="6" creationId="{71D0F878-8C72-1656-D669-24AF131F5EE3}"/>
          </ac:spMkLst>
        </pc:spChg>
      </pc:sldChg>
      <pc:sldChg chg="modSp mod">
        <pc:chgData name="Xi, Nana /CN" userId="ae209bdc-4d8f-495b-b1f7-7de10ae675af" providerId="ADAL" clId="{821F97AE-D6DE-4A14-ACB5-46B3A1287AC8}" dt="2025-03-20T04:07:15.954" v="359" actId="6549"/>
        <pc:sldMkLst>
          <pc:docMk/>
          <pc:sldMk cId="3573747625" sldId="2147376476"/>
        </pc:sldMkLst>
        <pc:spChg chg="mod">
          <ac:chgData name="Xi, Nana /CN" userId="ae209bdc-4d8f-495b-b1f7-7de10ae675af" providerId="ADAL" clId="{821F97AE-D6DE-4A14-ACB5-46B3A1287AC8}" dt="2025-03-20T04:07:15.954" v="359" actId="6549"/>
          <ac:spMkLst>
            <pc:docMk/>
            <pc:sldMk cId="3573747625" sldId="2147376476"/>
            <ac:spMk id="10" creationId="{DE4AC86C-2729-44F8-8172-BB4BAA8DDF92}"/>
          </ac:spMkLst>
        </pc:spChg>
      </pc:sldChg>
      <pc:sldChg chg="modSp mod">
        <pc:chgData name="Xi, Nana /CN" userId="ae209bdc-4d8f-495b-b1f7-7de10ae675af" providerId="ADAL" clId="{821F97AE-D6DE-4A14-ACB5-46B3A1287AC8}" dt="2025-03-20T04:11:12.611" v="402" actId="20577"/>
        <pc:sldMkLst>
          <pc:docMk/>
          <pc:sldMk cId="1358317527" sldId="2147376483"/>
        </pc:sldMkLst>
        <pc:spChg chg="mod">
          <ac:chgData name="Xi, Nana /CN" userId="ae209bdc-4d8f-495b-b1f7-7de10ae675af" providerId="ADAL" clId="{821F97AE-D6DE-4A14-ACB5-46B3A1287AC8}" dt="2025-03-20T04:09:45.941" v="383" actId="1035"/>
          <ac:spMkLst>
            <pc:docMk/>
            <pc:sldMk cId="1358317527" sldId="2147376483"/>
            <ac:spMk id="4" creationId="{6CB88F6B-3855-D5AD-17BB-F9BDD242D10C}"/>
          </ac:spMkLst>
        </pc:spChg>
        <pc:spChg chg="mod">
          <ac:chgData name="Xi, Nana /CN" userId="ae209bdc-4d8f-495b-b1f7-7de10ae675af" providerId="ADAL" clId="{821F97AE-D6DE-4A14-ACB5-46B3A1287AC8}" dt="2025-03-20T04:09:45.941" v="383" actId="1035"/>
          <ac:spMkLst>
            <pc:docMk/>
            <pc:sldMk cId="1358317527" sldId="2147376483"/>
            <ac:spMk id="5" creationId="{2156F8FD-9278-9CA4-B6D5-737D266D0A76}"/>
          </ac:spMkLst>
        </pc:spChg>
        <pc:spChg chg="mod">
          <ac:chgData name="Xi, Nana /CN" userId="ae209bdc-4d8f-495b-b1f7-7de10ae675af" providerId="ADAL" clId="{821F97AE-D6DE-4A14-ACB5-46B3A1287AC8}" dt="2025-03-20T04:09:45.941" v="383" actId="1035"/>
          <ac:spMkLst>
            <pc:docMk/>
            <pc:sldMk cId="1358317527" sldId="2147376483"/>
            <ac:spMk id="6" creationId="{282858E3-5232-92AE-49A3-64FB6016392B}"/>
          </ac:spMkLst>
        </pc:spChg>
        <pc:spChg chg="mod">
          <ac:chgData name="Xi, Nana /CN" userId="ae209bdc-4d8f-495b-b1f7-7de10ae675af" providerId="ADAL" clId="{821F97AE-D6DE-4A14-ACB5-46B3A1287AC8}" dt="2025-03-20T04:09:45.941" v="383" actId="1035"/>
          <ac:spMkLst>
            <pc:docMk/>
            <pc:sldMk cId="1358317527" sldId="2147376483"/>
            <ac:spMk id="10" creationId="{AFEB2B8D-5C7F-4D46-6F1F-32BEEE7E9F5C}"/>
          </ac:spMkLst>
        </pc:spChg>
        <pc:spChg chg="mod">
          <ac:chgData name="Xi, Nana /CN" userId="ae209bdc-4d8f-495b-b1f7-7de10ae675af" providerId="ADAL" clId="{821F97AE-D6DE-4A14-ACB5-46B3A1287AC8}" dt="2025-03-20T04:09:45.941" v="383" actId="1035"/>
          <ac:spMkLst>
            <pc:docMk/>
            <pc:sldMk cId="1358317527" sldId="2147376483"/>
            <ac:spMk id="21" creationId="{0221FE20-E84F-7823-E25F-8BC2EBBE468F}"/>
          </ac:spMkLst>
        </pc:spChg>
        <pc:spChg chg="mod">
          <ac:chgData name="Xi, Nana /CN" userId="ae209bdc-4d8f-495b-b1f7-7de10ae675af" providerId="ADAL" clId="{821F97AE-D6DE-4A14-ACB5-46B3A1287AC8}" dt="2025-03-20T04:09:45.941" v="383" actId="1035"/>
          <ac:spMkLst>
            <pc:docMk/>
            <pc:sldMk cId="1358317527" sldId="2147376483"/>
            <ac:spMk id="22" creationId="{EA055616-A3DC-376D-7A5D-9B45525B7211}"/>
          </ac:spMkLst>
        </pc:spChg>
        <pc:spChg chg="mod">
          <ac:chgData name="Xi, Nana /CN" userId="ae209bdc-4d8f-495b-b1f7-7de10ae675af" providerId="ADAL" clId="{821F97AE-D6DE-4A14-ACB5-46B3A1287AC8}" dt="2025-03-20T04:10:50.337" v="399" actId="6549"/>
          <ac:spMkLst>
            <pc:docMk/>
            <pc:sldMk cId="1358317527" sldId="2147376483"/>
            <ac:spMk id="23" creationId="{AA7AA6D5-0EFA-5F65-C31D-D852C32DECC7}"/>
          </ac:spMkLst>
        </pc:spChg>
        <pc:spChg chg="mod">
          <ac:chgData name="Xi, Nana /CN" userId="ae209bdc-4d8f-495b-b1f7-7de10ae675af" providerId="ADAL" clId="{821F97AE-D6DE-4A14-ACB5-46B3A1287AC8}" dt="2025-03-20T04:10:45.615" v="397" actId="6549"/>
          <ac:spMkLst>
            <pc:docMk/>
            <pc:sldMk cId="1358317527" sldId="2147376483"/>
            <ac:spMk id="24" creationId="{1E8DA937-4898-7C9F-B32B-ACB01A72687E}"/>
          </ac:spMkLst>
        </pc:spChg>
        <pc:spChg chg="mod">
          <ac:chgData name="Xi, Nana /CN" userId="ae209bdc-4d8f-495b-b1f7-7de10ae675af" providerId="ADAL" clId="{821F97AE-D6DE-4A14-ACB5-46B3A1287AC8}" dt="2025-03-20T04:10:48.148" v="398" actId="6549"/>
          <ac:spMkLst>
            <pc:docMk/>
            <pc:sldMk cId="1358317527" sldId="2147376483"/>
            <ac:spMk id="25" creationId="{B7BBCDEC-CC39-08FB-9DBA-9A88988D2CFA}"/>
          </ac:spMkLst>
        </pc:spChg>
        <pc:spChg chg="mod">
          <ac:chgData name="Xi, Nana /CN" userId="ae209bdc-4d8f-495b-b1f7-7de10ae675af" providerId="ADAL" clId="{821F97AE-D6DE-4A14-ACB5-46B3A1287AC8}" dt="2025-03-20T04:11:12.611" v="402" actId="20577"/>
          <ac:spMkLst>
            <pc:docMk/>
            <pc:sldMk cId="1358317527" sldId="2147376483"/>
            <ac:spMk id="26" creationId="{D066264E-AA07-DBE3-8A7A-A2D9A342A405}"/>
          </ac:spMkLst>
        </pc:spChg>
        <pc:spChg chg="mod">
          <ac:chgData name="Xi, Nana /CN" userId="ae209bdc-4d8f-495b-b1f7-7de10ae675af" providerId="ADAL" clId="{821F97AE-D6DE-4A14-ACB5-46B3A1287AC8}" dt="2025-03-20T04:09:45.941" v="383" actId="1035"/>
          <ac:spMkLst>
            <pc:docMk/>
            <pc:sldMk cId="1358317527" sldId="2147376483"/>
            <ac:spMk id="27" creationId="{BDBBFDC1-6245-88C8-2F8D-85F136A6633B}"/>
          </ac:spMkLst>
        </pc:spChg>
        <pc:spChg chg="mod">
          <ac:chgData name="Xi, Nana /CN" userId="ae209bdc-4d8f-495b-b1f7-7de10ae675af" providerId="ADAL" clId="{821F97AE-D6DE-4A14-ACB5-46B3A1287AC8}" dt="2025-03-20T04:09:45.941" v="383" actId="1035"/>
          <ac:spMkLst>
            <pc:docMk/>
            <pc:sldMk cId="1358317527" sldId="2147376483"/>
            <ac:spMk id="28" creationId="{9632D215-BFF0-D0C2-67E0-BD7EE8950E93}"/>
          </ac:spMkLst>
        </pc:spChg>
        <pc:spChg chg="mod">
          <ac:chgData name="Xi, Nana /CN" userId="ae209bdc-4d8f-495b-b1f7-7de10ae675af" providerId="ADAL" clId="{821F97AE-D6DE-4A14-ACB5-46B3A1287AC8}" dt="2025-03-20T04:09:45.941" v="383" actId="1035"/>
          <ac:spMkLst>
            <pc:docMk/>
            <pc:sldMk cId="1358317527" sldId="2147376483"/>
            <ac:spMk id="31" creationId="{942D84FF-DF19-4F00-FE65-A04FCAF5CA45}"/>
          </ac:spMkLst>
        </pc:spChg>
        <pc:spChg chg="mod">
          <ac:chgData name="Xi, Nana /CN" userId="ae209bdc-4d8f-495b-b1f7-7de10ae675af" providerId="ADAL" clId="{821F97AE-D6DE-4A14-ACB5-46B3A1287AC8}" dt="2025-03-20T04:09:45.941" v="383" actId="1035"/>
          <ac:spMkLst>
            <pc:docMk/>
            <pc:sldMk cId="1358317527" sldId="2147376483"/>
            <ac:spMk id="34" creationId="{7025868C-9EC6-5B34-75F2-4D5A2B5FAA08}"/>
          </ac:spMkLst>
        </pc:spChg>
        <pc:spChg chg="mod">
          <ac:chgData name="Xi, Nana /CN" userId="ae209bdc-4d8f-495b-b1f7-7de10ae675af" providerId="ADAL" clId="{821F97AE-D6DE-4A14-ACB5-46B3A1287AC8}" dt="2025-03-20T04:09:45.941" v="383" actId="1035"/>
          <ac:spMkLst>
            <pc:docMk/>
            <pc:sldMk cId="1358317527" sldId="2147376483"/>
            <ac:spMk id="35" creationId="{B6E2AA46-309C-4C2B-4815-02AE62D165AE}"/>
          </ac:spMkLst>
        </pc:spChg>
        <pc:spChg chg="mod">
          <ac:chgData name="Xi, Nana /CN" userId="ae209bdc-4d8f-495b-b1f7-7de10ae675af" providerId="ADAL" clId="{821F97AE-D6DE-4A14-ACB5-46B3A1287AC8}" dt="2025-03-20T04:09:45.941" v="383" actId="1035"/>
          <ac:spMkLst>
            <pc:docMk/>
            <pc:sldMk cId="1358317527" sldId="2147376483"/>
            <ac:spMk id="36" creationId="{3BB12D5D-0F3F-A46C-31D3-4F0D027ABBA8}"/>
          </ac:spMkLst>
        </pc:spChg>
        <pc:spChg chg="mod">
          <ac:chgData name="Xi, Nana /CN" userId="ae209bdc-4d8f-495b-b1f7-7de10ae675af" providerId="ADAL" clId="{821F97AE-D6DE-4A14-ACB5-46B3A1287AC8}" dt="2025-03-20T04:09:45.941" v="383" actId="1035"/>
          <ac:spMkLst>
            <pc:docMk/>
            <pc:sldMk cId="1358317527" sldId="2147376483"/>
            <ac:spMk id="37" creationId="{2C934E2C-E32B-D88B-0CE5-FB09F380423F}"/>
          </ac:spMkLst>
        </pc:spChg>
        <pc:spChg chg="mod">
          <ac:chgData name="Xi, Nana /CN" userId="ae209bdc-4d8f-495b-b1f7-7de10ae675af" providerId="ADAL" clId="{821F97AE-D6DE-4A14-ACB5-46B3A1287AC8}" dt="2025-03-20T04:10:17.006" v="395" actId="14100"/>
          <ac:spMkLst>
            <pc:docMk/>
            <pc:sldMk cId="1358317527" sldId="2147376483"/>
            <ac:spMk id="38" creationId="{7A8E7245-ADE2-DFB0-6663-24270E1EBDD0}"/>
          </ac:spMkLst>
        </pc:spChg>
        <pc:spChg chg="mod">
          <ac:chgData name="Xi, Nana /CN" userId="ae209bdc-4d8f-495b-b1f7-7de10ae675af" providerId="ADAL" clId="{821F97AE-D6DE-4A14-ACB5-46B3A1287AC8}" dt="2025-03-20T04:10:06.081" v="393" actId="14100"/>
          <ac:spMkLst>
            <pc:docMk/>
            <pc:sldMk cId="1358317527" sldId="2147376483"/>
            <ac:spMk id="39" creationId="{AA6EDC2D-CE79-9614-272A-B962E81BFB35}"/>
          </ac:spMkLst>
        </pc:spChg>
        <pc:spChg chg="mod">
          <ac:chgData name="Xi, Nana /CN" userId="ae209bdc-4d8f-495b-b1f7-7de10ae675af" providerId="ADAL" clId="{821F97AE-D6DE-4A14-ACB5-46B3A1287AC8}" dt="2025-03-20T04:09:58.147" v="391" actId="1038"/>
          <ac:spMkLst>
            <pc:docMk/>
            <pc:sldMk cId="1358317527" sldId="2147376483"/>
            <ac:spMk id="40" creationId="{0730ADBE-7AF8-48E8-0B72-27007925C5D0}"/>
          </ac:spMkLst>
        </pc:spChg>
      </pc:sldChg>
    </pc:docChg>
  </pc:docChgLst>
  <pc:docChgLst>
    <pc:chgData name="Wang, Xing1 /CN/EXT" userId="S::xing1.wang@sanofi.com::e7e3a264-d79f-4d05-b0dc-a26ea78b597a" providerId="AD" clId="Web-{5E30D57A-E3A0-6668-0AE9-DBE4DC610469}"/>
    <pc:docChg chg="modSld">
      <pc:chgData name="Wang, Xing1 /CN/EXT" userId="S::xing1.wang@sanofi.com::e7e3a264-d79f-4d05-b0dc-a26ea78b597a" providerId="AD" clId="Web-{5E30D57A-E3A0-6668-0AE9-DBE4DC610469}" dt="2025-03-20T02:58:11.998" v="29"/>
      <pc:docMkLst>
        <pc:docMk/>
      </pc:docMkLst>
      <pc:sldChg chg="modSp">
        <pc:chgData name="Wang, Xing1 /CN/EXT" userId="S::xing1.wang@sanofi.com::e7e3a264-d79f-4d05-b0dc-a26ea78b597a" providerId="AD" clId="Web-{5E30D57A-E3A0-6668-0AE9-DBE4DC610469}" dt="2025-03-20T02:58:11.998" v="29"/>
        <pc:sldMkLst>
          <pc:docMk/>
          <pc:sldMk cId="4246985430" sldId="2147376433"/>
        </pc:sldMkLst>
        <pc:picChg chg="mod modCrop">
          <ac:chgData name="Wang, Xing1 /CN/EXT" userId="S::xing1.wang@sanofi.com::e7e3a264-d79f-4d05-b0dc-a26ea78b597a" providerId="AD" clId="Web-{5E30D57A-E3A0-6668-0AE9-DBE4DC610469}" dt="2025-03-20T02:58:11.998" v="29"/>
          <ac:picMkLst>
            <pc:docMk/>
            <pc:sldMk cId="4246985430" sldId="2147376433"/>
            <ac:picMk id="5" creationId="{0E87D36A-BC60-B206-3445-E47DCE49B5CB}"/>
          </ac:picMkLst>
        </pc:picChg>
      </pc:sldChg>
      <pc:sldChg chg="modSp">
        <pc:chgData name="Wang, Xing1 /CN/EXT" userId="S::xing1.wang@sanofi.com::e7e3a264-d79f-4d05-b0dc-a26ea78b597a" providerId="AD" clId="Web-{5E30D57A-E3A0-6668-0AE9-DBE4DC610469}" dt="2025-03-20T02:54:17.477" v="27" actId="20577"/>
        <pc:sldMkLst>
          <pc:docMk/>
          <pc:sldMk cId="1140018203" sldId="2147376470"/>
        </pc:sldMkLst>
        <pc:spChg chg="mod">
          <ac:chgData name="Wang, Xing1 /CN/EXT" userId="S::xing1.wang@sanofi.com::e7e3a264-d79f-4d05-b0dc-a26ea78b597a" providerId="AD" clId="Web-{5E30D57A-E3A0-6668-0AE9-DBE4DC610469}" dt="2025-03-20T02:54:17.477" v="27" actId="20577"/>
          <ac:spMkLst>
            <pc:docMk/>
            <pc:sldMk cId="1140018203" sldId="2147376470"/>
            <ac:spMk id="5" creationId="{F11557E1-DBAC-012C-1ECC-CB10B6272ABD}"/>
          </ac:spMkLst>
        </pc:spChg>
      </pc:sldChg>
      <pc:sldChg chg="addSp modSp">
        <pc:chgData name="Wang, Xing1 /CN/EXT" userId="S::xing1.wang@sanofi.com::e7e3a264-d79f-4d05-b0dc-a26ea78b597a" providerId="AD" clId="Web-{5E30D57A-E3A0-6668-0AE9-DBE4DC610469}" dt="2025-03-20T02:53:50.195" v="17"/>
        <pc:sldMkLst>
          <pc:docMk/>
          <pc:sldMk cId="263037846" sldId="2147376480"/>
        </pc:sldMkLst>
        <pc:spChg chg="add mod">
          <ac:chgData name="Wang, Xing1 /CN/EXT" userId="S::xing1.wang@sanofi.com::e7e3a264-d79f-4d05-b0dc-a26ea78b597a" providerId="AD" clId="Web-{5E30D57A-E3A0-6668-0AE9-DBE4DC610469}" dt="2025-03-20T02:53:34.195" v="15" actId="1076"/>
          <ac:spMkLst>
            <pc:docMk/>
            <pc:sldMk cId="263037846" sldId="2147376480"/>
            <ac:spMk id="3" creationId="{E040DA1B-6252-1FB3-AEC7-1D07631BA7A5}"/>
          </ac:spMkLst>
        </pc:spChg>
        <pc:picChg chg="mod modCrop">
          <ac:chgData name="Wang, Xing1 /CN/EXT" userId="S::xing1.wang@sanofi.com::e7e3a264-d79f-4d05-b0dc-a26ea78b597a" providerId="AD" clId="Web-{5E30D57A-E3A0-6668-0AE9-DBE4DC610469}" dt="2025-03-20T02:53:50.195" v="17"/>
          <ac:picMkLst>
            <pc:docMk/>
            <pc:sldMk cId="263037846" sldId="2147376480"/>
            <ac:picMk id="1026" creationId="{8A4D00B3-1C83-C65A-838E-F3955D18CEF3}"/>
          </ac:picMkLst>
        </pc:picChg>
      </pc:sldChg>
    </pc:docChg>
  </pc:docChgLst>
  <pc:docChgLst>
    <pc:chgData name="Wang, Xing1 /CN/EXT" userId="S::xing1.wang@sanofi.com::e7e3a264-d79f-4d05-b0dc-a26ea78b597a" providerId="AD" clId="Web-{2F8B803D-1045-9892-F278-111726F0FBC8}"/>
    <pc:docChg chg="modSld">
      <pc:chgData name="Wang, Xing1 /CN/EXT" userId="S::xing1.wang@sanofi.com::e7e3a264-d79f-4d05-b0dc-a26ea78b597a" providerId="AD" clId="Web-{2F8B803D-1045-9892-F278-111726F0FBC8}" dt="2025-03-20T05:04:37.603" v="3" actId="1076"/>
      <pc:docMkLst>
        <pc:docMk/>
      </pc:docMkLst>
      <pc:sldChg chg="modSp">
        <pc:chgData name="Wang, Xing1 /CN/EXT" userId="S::xing1.wang@sanofi.com::e7e3a264-d79f-4d05-b0dc-a26ea78b597a" providerId="AD" clId="Web-{2F8B803D-1045-9892-F278-111726F0FBC8}" dt="2025-03-20T05:04:37.603" v="3" actId="1076"/>
        <pc:sldMkLst>
          <pc:docMk/>
          <pc:sldMk cId="4246985430" sldId="2147376433"/>
        </pc:sldMkLst>
        <pc:spChg chg="mod">
          <ac:chgData name="Wang, Xing1 /CN/EXT" userId="S::xing1.wang@sanofi.com::e7e3a264-d79f-4d05-b0dc-a26ea78b597a" providerId="AD" clId="Web-{2F8B803D-1045-9892-F278-111726F0FBC8}" dt="2025-03-20T05:04:36.259" v="2" actId="1076"/>
          <ac:spMkLst>
            <pc:docMk/>
            <pc:sldMk cId="4246985430" sldId="2147376433"/>
            <ac:spMk id="7" creationId="{979F945A-A808-F8FE-8FDF-5845F4D209DF}"/>
          </ac:spMkLst>
        </pc:spChg>
        <pc:spChg chg="mod">
          <ac:chgData name="Wang, Xing1 /CN/EXT" userId="S::xing1.wang@sanofi.com::e7e3a264-d79f-4d05-b0dc-a26ea78b597a" providerId="AD" clId="Web-{2F8B803D-1045-9892-F278-111726F0FBC8}" dt="2025-03-20T05:04:37.603" v="3" actId="1076"/>
          <ac:spMkLst>
            <pc:docMk/>
            <pc:sldMk cId="4246985430" sldId="2147376433"/>
            <ac:spMk id="8" creationId="{1E209A39-D191-4265-A197-3D5C5FD04200}"/>
          </ac:spMkLst>
        </pc:spChg>
      </pc:sldChg>
    </pc:docChg>
  </pc:docChgLst>
  <pc:docChgLst>
    <pc:chgData name="Xi, Nana /CN" userId="S::nana.xi@sanofi.com::ae209bdc-4d8f-495b-b1f7-7de10ae675af" providerId="AD" clId="Web-{0EAA0AF9-1F76-E68B-22D7-7017FD105702}"/>
    <pc:docChg chg="modSld">
      <pc:chgData name="Xi, Nana /CN" userId="S::nana.xi@sanofi.com::ae209bdc-4d8f-495b-b1f7-7de10ae675af" providerId="AD" clId="Web-{0EAA0AF9-1F76-E68B-22D7-7017FD105702}" dt="2025-03-20T03:16:16.741" v="5"/>
      <pc:docMkLst>
        <pc:docMk/>
      </pc:docMkLst>
      <pc:sldChg chg="modSp">
        <pc:chgData name="Xi, Nana /CN" userId="S::nana.xi@sanofi.com::ae209bdc-4d8f-495b-b1f7-7de10ae675af" providerId="AD" clId="Web-{0EAA0AF9-1F76-E68B-22D7-7017FD105702}" dt="2025-03-20T03:16:16.741" v="5"/>
        <pc:sldMkLst>
          <pc:docMk/>
          <pc:sldMk cId="1358317527" sldId="2147376483"/>
        </pc:sldMkLst>
        <pc:spChg chg="mod">
          <ac:chgData name="Xi, Nana /CN" userId="S::nana.xi@sanofi.com::ae209bdc-4d8f-495b-b1f7-7de10ae675af" providerId="AD" clId="Web-{0EAA0AF9-1F76-E68B-22D7-7017FD105702}" dt="2025-03-20T03:16:16.741" v="5"/>
          <ac:spMkLst>
            <pc:docMk/>
            <pc:sldMk cId="1358317527" sldId="2147376483"/>
            <ac:spMk id="38" creationId="{7A8E7245-ADE2-DFB0-6663-24270E1EBDD0}"/>
          </ac:spMkLst>
        </pc:spChg>
        <pc:spChg chg="mod">
          <ac:chgData name="Xi, Nana /CN" userId="S::nana.xi@sanofi.com::ae209bdc-4d8f-495b-b1f7-7de10ae675af" providerId="AD" clId="Web-{0EAA0AF9-1F76-E68B-22D7-7017FD105702}" dt="2025-03-20T03:16:16.741" v="4"/>
          <ac:spMkLst>
            <pc:docMk/>
            <pc:sldMk cId="1358317527" sldId="2147376483"/>
            <ac:spMk id="39" creationId="{AA6EDC2D-CE79-9614-272A-B962E81BFB35}"/>
          </ac:spMkLst>
        </pc:spChg>
        <pc:spChg chg="mod">
          <ac:chgData name="Xi, Nana /CN" userId="S::nana.xi@sanofi.com::ae209bdc-4d8f-495b-b1f7-7de10ae675af" providerId="AD" clId="Web-{0EAA0AF9-1F76-E68B-22D7-7017FD105702}" dt="2025-03-20T03:16:16.741" v="3"/>
          <ac:spMkLst>
            <pc:docMk/>
            <pc:sldMk cId="1358317527" sldId="2147376483"/>
            <ac:spMk id="40" creationId="{0730ADBE-7AF8-48E8-0B72-27007925C5D0}"/>
          </ac:spMkLst>
        </pc:spChg>
      </pc:sldChg>
    </pc:docChg>
  </pc:docChgLst>
  <pc:docChgLst>
    <pc:chgData name="Wang, Xing1 /CN/EXT" userId="e7e3a264-d79f-4d05-b0dc-a26ea78b597a" providerId="ADAL" clId="{551703A3-D83B-4335-A4C7-83F2B3864171}"/>
    <pc:docChg chg="undo custSel addSld delSld modSld sldOrd addMainMaster delMainMaster modMainMaster">
      <pc:chgData name="Wang, Xing1 /CN/EXT" userId="e7e3a264-d79f-4d05-b0dc-a26ea78b597a" providerId="ADAL" clId="{551703A3-D83B-4335-A4C7-83F2B3864171}" dt="2025-03-10T09:48:07.856" v="1510" actId="47"/>
      <pc:docMkLst>
        <pc:docMk/>
      </pc:docMkLst>
      <pc:sldChg chg="addSp delSp modSp mod modClrScheme chgLayout">
        <pc:chgData name="Wang, Xing1 /CN/EXT" userId="e7e3a264-d79f-4d05-b0dc-a26ea78b597a" providerId="ADAL" clId="{551703A3-D83B-4335-A4C7-83F2B3864171}" dt="2025-03-10T09:40:54.105" v="1461" actId="1076"/>
        <pc:sldMkLst>
          <pc:docMk/>
          <pc:sldMk cId="526097678" sldId="2147376302"/>
        </pc:sldMkLst>
        <pc:spChg chg="add del mod ord">
          <ac:chgData name="Wang, Xing1 /CN/EXT" userId="e7e3a264-d79f-4d05-b0dc-a26ea78b597a" providerId="ADAL" clId="{551703A3-D83B-4335-A4C7-83F2B3864171}" dt="2025-03-10T09:39:39.083" v="1453" actId="700"/>
          <ac:spMkLst>
            <pc:docMk/>
            <pc:sldMk cId="526097678" sldId="2147376302"/>
            <ac:spMk id="2" creationId="{A71083DB-3B21-A4DA-CA57-7683EC108F9F}"/>
          </ac:spMkLst>
        </pc:spChg>
        <pc:spChg chg="mod ord">
          <ac:chgData name="Wang, Xing1 /CN/EXT" userId="e7e3a264-d79f-4d05-b0dc-a26ea78b597a" providerId="ADAL" clId="{551703A3-D83B-4335-A4C7-83F2B3864171}" dt="2025-03-10T09:40:54.105" v="1461" actId="1076"/>
          <ac:spMkLst>
            <pc:docMk/>
            <pc:sldMk cId="526097678" sldId="2147376302"/>
            <ac:spMk id="3" creationId="{AC19A5B6-683C-4CA6-B021-C797D892BD9C}"/>
          </ac:spMkLst>
        </pc:spChg>
        <pc:spChg chg="add del mod ord">
          <ac:chgData name="Wang, Xing1 /CN/EXT" userId="e7e3a264-d79f-4d05-b0dc-a26ea78b597a" providerId="ADAL" clId="{551703A3-D83B-4335-A4C7-83F2B3864171}" dt="2025-03-10T09:39:39.083" v="1453" actId="700"/>
          <ac:spMkLst>
            <pc:docMk/>
            <pc:sldMk cId="526097678" sldId="2147376302"/>
            <ac:spMk id="4" creationId="{D6304BC6-4336-F9F3-9B1B-46768F832CD2}"/>
          </ac:spMkLst>
        </pc:spChg>
        <pc:spChg chg="add del mod ord">
          <ac:chgData name="Wang, Xing1 /CN/EXT" userId="e7e3a264-d79f-4d05-b0dc-a26ea78b597a" providerId="ADAL" clId="{551703A3-D83B-4335-A4C7-83F2B3864171}" dt="2025-03-10T09:39:39.083" v="1453" actId="700"/>
          <ac:spMkLst>
            <pc:docMk/>
            <pc:sldMk cId="526097678" sldId="2147376302"/>
            <ac:spMk id="5" creationId="{4CB49F08-1DEC-FD93-2812-55383F375005}"/>
          </ac:spMkLst>
        </pc:spChg>
      </pc:sldChg>
      <pc:sldChg chg="mod modClrScheme chgLayout">
        <pc:chgData name="Wang, Xing1 /CN/EXT" userId="e7e3a264-d79f-4d05-b0dc-a26ea78b597a" providerId="ADAL" clId="{551703A3-D83B-4335-A4C7-83F2B3864171}" dt="2025-03-10T09:43:43.121" v="1501" actId="700"/>
        <pc:sldMkLst>
          <pc:docMk/>
          <pc:sldMk cId="3618462458" sldId="2147376360"/>
        </pc:sldMkLst>
      </pc:sldChg>
      <pc:sldChg chg="modSp mod">
        <pc:chgData name="Wang, Xing1 /CN/EXT" userId="e7e3a264-d79f-4d05-b0dc-a26ea78b597a" providerId="ADAL" clId="{551703A3-D83B-4335-A4C7-83F2B3864171}" dt="2025-03-10T09:42:03.957" v="1474" actId="120"/>
        <pc:sldMkLst>
          <pc:docMk/>
          <pc:sldMk cId="863110115" sldId="2147376368"/>
        </pc:sldMkLst>
        <pc:spChg chg="mod">
          <ac:chgData name="Wang, Xing1 /CN/EXT" userId="e7e3a264-d79f-4d05-b0dc-a26ea78b597a" providerId="ADAL" clId="{551703A3-D83B-4335-A4C7-83F2B3864171}" dt="2025-03-10T09:42:03.957" v="1474" actId="120"/>
          <ac:spMkLst>
            <pc:docMk/>
            <pc:sldMk cId="863110115" sldId="2147376368"/>
            <ac:spMk id="3" creationId="{6D4A0C77-3ED9-B74C-8823-30518515F482}"/>
          </ac:spMkLst>
        </pc:spChg>
      </pc:sldChg>
      <pc:sldChg chg="modSp mod">
        <pc:chgData name="Wang, Xing1 /CN/EXT" userId="e7e3a264-d79f-4d05-b0dc-a26ea78b597a" providerId="ADAL" clId="{551703A3-D83B-4335-A4C7-83F2B3864171}" dt="2025-03-10T09:40:59.384" v="1462" actId="120"/>
        <pc:sldMkLst>
          <pc:docMk/>
          <pc:sldMk cId="3233227942" sldId="2147376370"/>
        </pc:sldMkLst>
        <pc:spChg chg="mod">
          <ac:chgData name="Wang, Xing1 /CN/EXT" userId="e7e3a264-d79f-4d05-b0dc-a26ea78b597a" providerId="ADAL" clId="{551703A3-D83B-4335-A4C7-83F2B3864171}" dt="2025-03-10T09:40:59.384" v="1462" actId="120"/>
          <ac:spMkLst>
            <pc:docMk/>
            <pc:sldMk cId="3233227942" sldId="2147376370"/>
            <ac:spMk id="3" creationId="{6D4A0C77-3ED9-B74C-8823-30518515F482}"/>
          </ac:spMkLst>
        </pc:spChg>
      </pc:sldChg>
      <pc:sldChg chg="modSp mod">
        <pc:chgData name="Wang, Xing1 /CN/EXT" userId="e7e3a264-d79f-4d05-b0dc-a26ea78b597a" providerId="ADAL" clId="{551703A3-D83B-4335-A4C7-83F2B3864171}" dt="2025-03-10T09:43:36.981" v="1499" actId="120"/>
        <pc:sldMkLst>
          <pc:docMk/>
          <pc:sldMk cId="2635262652" sldId="2147376389"/>
        </pc:sldMkLst>
        <pc:spChg chg="mod">
          <ac:chgData name="Wang, Xing1 /CN/EXT" userId="e7e3a264-d79f-4d05-b0dc-a26ea78b597a" providerId="ADAL" clId="{551703A3-D83B-4335-A4C7-83F2B3864171}" dt="2025-03-10T09:43:36.981" v="1499" actId="120"/>
          <ac:spMkLst>
            <pc:docMk/>
            <pc:sldMk cId="2635262652" sldId="2147376389"/>
            <ac:spMk id="3" creationId="{6D4A0C77-3ED9-B74C-8823-30518515F482}"/>
          </ac:spMkLst>
        </pc:spChg>
      </pc:sldChg>
      <pc:sldChg chg="modSp mod modClrScheme chgLayout">
        <pc:chgData name="Wang, Xing1 /CN/EXT" userId="e7e3a264-d79f-4d05-b0dc-a26ea78b597a" providerId="ADAL" clId="{551703A3-D83B-4335-A4C7-83F2B3864171}" dt="2025-03-10T09:41:08.668" v="1463" actId="700"/>
        <pc:sldMkLst>
          <pc:docMk/>
          <pc:sldMk cId="2287941241" sldId="2147376390"/>
        </pc:sldMkLst>
        <pc:spChg chg="mod">
          <ac:chgData name="Wang, Xing1 /CN/EXT" userId="e7e3a264-d79f-4d05-b0dc-a26ea78b597a" providerId="ADAL" clId="{551703A3-D83B-4335-A4C7-83F2B3864171}" dt="2025-03-10T08:28:17.957" v="1168" actId="20577"/>
          <ac:spMkLst>
            <pc:docMk/>
            <pc:sldMk cId="2287941241" sldId="2147376390"/>
            <ac:spMk id="3" creationId="{8B583C51-566D-A7E7-FB04-3E16C7843616}"/>
          </ac:spMkLst>
        </pc:spChg>
      </pc:sldChg>
      <pc:sldChg chg="addSp delSp modSp add mod modClrScheme chgLayout">
        <pc:chgData name="Wang, Xing1 /CN/EXT" userId="e7e3a264-d79f-4d05-b0dc-a26ea78b597a" providerId="ADAL" clId="{551703A3-D83B-4335-A4C7-83F2B3864171}" dt="2025-03-10T09:42:42.671" v="1484" actId="700"/>
        <pc:sldMkLst>
          <pc:docMk/>
          <pc:sldMk cId="144580504" sldId="2147376392"/>
        </pc:sldMkLst>
        <pc:picChg chg="add mod">
          <ac:chgData name="Wang, Xing1 /CN/EXT" userId="e7e3a264-d79f-4d05-b0dc-a26ea78b597a" providerId="ADAL" clId="{551703A3-D83B-4335-A4C7-83F2B3864171}" dt="2025-03-10T08:53:54.833" v="1230" actId="1076"/>
          <ac:picMkLst>
            <pc:docMk/>
            <pc:sldMk cId="144580504" sldId="2147376392"/>
            <ac:picMk id="4" creationId="{0B0462B4-A95E-9FB0-E9A0-9FF43589D330}"/>
          </ac:picMkLst>
        </pc:picChg>
        <pc:picChg chg="del">
          <ac:chgData name="Wang, Xing1 /CN/EXT" userId="e7e3a264-d79f-4d05-b0dc-a26ea78b597a" providerId="ADAL" clId="{551703A3-D83B-4335-A4C7-83F2B3864171}" dt="2025-03-10T08:53:47.472" v="1226" actId="478"/>
          <ac:picMkLst>
            <pc:docMk/>
            <pc:sldMk cId="144580504" sldId="2147376392"/>
            <ac:picMk id="5" creationId="{B061C3C8-4073-FF2F-98B1-15563463A5F4}"/>
          </ac:picMkLst>
        </pc:picChg>
      </pc:sldChg>
      <pc:sldChg chg="del">
        <pc:chgData name="Wang, Xing1 /CN/EXT" userId="e7e3a264-d79f-4d05-b0dc-a26ea78b597a" providerId="ADAL" clId="{551703A3-D83B-4335-A4C7-83F2B3864171}" dt="2025-03-10T03:23:28.848" v="0" actId="2696"/>
        <pc:sldMkLst>
          <pc:docMk/>
          <pc:sldMk cId="2053994266" sldId="2147376392"/>
        </pc:sldMkLst>
      </pc:sldChg>
      <pc:sldChg chg="mod modClrScheme chgLayout">
        <pc:chgData name="Wang, Xing1 /CN/EXT" userId="e7e3a264-d79f-4d05-b0dc-a26ea78b597a" providerId="ADAL" clId="{551703A3-D83B-4335-A4C7-83F2B3864171}" dt="2025-03-10T09:41:31.715" v="1466" actId="700"/>
        <pc:sldMkLst>
          <pc:docMk/>
          <pc:sldMk cId="3917866036" sldId="2147376426"/>
        </pc:sldMkLst>
      </pc:sldChg>
      <pc:sldChg chg="mod modClrScheme chgLayout">
        <pc:chgData name="Wang, Xing1 /CN/EXT" userId="e7e3a264-d79f-4d05-b0dc-a26ea78b597a" providerId="ADAL" clId="{551703A3-D83B-4335-A4C7-83F2B3864171}" dt="2025-03-10T09:41:36.762" v="1467" actId="700"/>
        <pc:sldMkLst>
          <pc:docMk/>
          <pc:sldMk cId="245441334" sldId="2147376427"/>
        </pc:sldMkLst>
      </pc:sldChg>
      <pc:sldChg chg="mod modClrScheme chgLayout">
        <pc:chgData name="Wang, Xing1 /CN/EXT" userId="e7e3a264-d79f-4d05-b0dc-a26ea78b597a" providerId="ADAL" clId="{551703A3-D83B-4335-A4C7-83F2B3864171}" dt="2025-03-10T09:41:39.851" v="1468" actId="700"/>
        <pc:sldMkLst>
          <pc:docMk/>
          <pc:sldMk cId="3743281346" sldId="2147376428"/>
        </pc:sldMkLst>
      </pc:sldChg>
      <pc:sldChg chg="mod modClrScheme chgLayout">
        <pc:chgData name="Wang, Xing1 /CN/EXT" userId="e7e3a264-d79f-4d05-b0dc-a26ea78b597a" providerId="ADAL" clId="{551703A3-D83B-4335-A4C7-83F2B3864171}" dt="2025-03-10T09:41:55.383" v="1472" actId="700"/>
        <pc:sldMkLst>
          <pc:docMk/>
          <pc:sldMk cId="2396538348" sldId="2147376431"/>
        </pc:sldMkLst>
      </pc:sldChg>
      <pc:sldChg chg="mod modClrScheme chgLayout">
        <pc:chgData name="Wang, Xing1 /CN/EXT" userId="e7e3a264-d79f-4d05-b0dc-a26ea78b597a" providerId="ADAL" clId="{551703A3-D83B-4335-A4C7-83F2B3864171}" dt="2025-03-10T09:42:00.573" v="1473" actId="700"/>
        <pc:sldMkLst>
          <pc:docMk/>
          <pc:sldMk cId="2159402005" sldId="2147376432"/>
        </pc:sldMkLst>
      </pc:sldChg>
      <pc:sldChg chg="addSp delSp modSp mod modClrScheme chgLayout modNotesTx">
        <pc:chgData name="Wang, Xing1 /CN/EXT" userId="e7e3a264-d79f-4d05-b0dc-a26ea78b597a" providerId="ADAL" clId="{551703A3-D83B-4335-A4C7-83F2B3864171}" dt="2025-03-10T09:42:07.805" v="1475" actId="700"/>
        <pc:sldMkLst>
          <pc:docMk/>
          <pc:sldMk cId="4246985430" sldId="2147376433"/>
        </pc:sldMkLst>
        <pc:picChg chg="del">
          <ac:chgData name="Wang, Xing1 /CN/EXT" userId="e7e3a264-d79f-4d05-b0dc-a26ea78b597a" providerId="ADAL" clId="{551703A3-D83B-4335-A4C7-83F2B3864171}" dt="2025-03-10T08:36:20.837" v="1169" actId="478"/>
          <ac:picMkLst>
            <pc:docMk/>
            <pc:sldMk cId="4246985430" sldId="2147376433"/>
            <ac:picMk id="4" creationId="{45117DA3-08C4-7FD4-A202-513CB3F65381}"/>
          </ac:picMkLst>
        </pc:picChg>
        <pc:picChg chg="add mod">
          <ac:chgData name="Wang, Xing1 /CN/EXT" userId="e7e3a264-d79f-4d05-b0dc-a26ea78b597a" providerId="ADAL" clId="{551703A3-D83B-4335-A4C7-83F2B3864171}" dt="2025-03-10T08:49:41.994" v="1216" actId="1076"/>
          <ac:picMkLst>
            <pc:docMk/>
            <pc:sldMk cId="4246985430" sldId="2147376433"/>
            <ac:picMk id="5" creationId="{0E87D36A-BC60-B206-3445-E47DCE49B5CB}"/>
          </ac:picMkLst>
        </pc:picChg>
      </pc:sldChg>
      <pc:sldChg chg="modSp mod modClrScheme chgLayout">
        <pc:chgData name="Wang, Xing1 /CN/EXT" userId="e7e3a264-d79f-4d05-b0dc-a26ea78b597a" providerId="ADAL" clId="{551703A3-D83B-4335-A4C7-83F2B3864171}" dt="2025-03-10T09:42:16.598" v="1477" actId="700"/>
        <pc:sldMkLst>
          <pc:docMk/>
          <pc:sldMk cId="2331853025" sldId="2147376435"/>
        </pc:sldMkLst>
        <pc:spChg chg="mod">
          <ac:chgData name="Wang, Xing1 /CN/EXT" userId="e7e3a264-d79f-4d05-b0dc-a26ea78b597a" providerId="ADAL" clId="{551703A3-D83B-4335-A4C7-83F2B3864171}" dt="2025-03-10T08:49:58.937" v="1225" actId="14100"/>
          <ac:spMkLst>
            <pc:docMk/>
            <pc:sldMk cId="2331853025" sldId="2147376435"/>
            <ac:spMk id="6" creationId="{71D0F878-8C72-1656-D669-24AF131F5EE3}"/>
          </ac:spMkLst>
        </pc:spChg>
      </pc:sldChg>
      <pc:sldChg chg="mod modClrScheme chgLayout">
        <pc:chgData name="Wang, Xing1 /CN/EXT" userId="e7e3a264-d79f-4d05-b0dc-a26ea78b597a" providerId="ADAL" clId="{551703A3-D83B-4335-A4C7-83F2B3864171}" dt="2025-03-10T09:42:19.547" v="1478" actId="700"/>
        <pc:sldMkLst>
          <pc:docMk/>
          <pc:sldMk cId="4229166338" sldId="2147376437"/>
        </pc:sldMkLst>
      </pc:sldChg>
      <pc:sldChg chg="mod modClrScheme chgLayout">
        <pc:chgData name="Wang, Xing1 /CN/EXT" userId="e7e3a264-d79f-4d05-b0dc-a26ea78b597a" providerId="ADAL" clId="{551703A3-D83B-4335-A4C7-83F2B3864171}" dt="2025-03-10T09:42:23.001" v="1479" actId="700"/>
        <pc:sldMkLst>
          <pc:docMk/>
          <pc:sldMk cId="730022459" sldId="2147376438"/>
        </pc:sldMkLst>
      </pc:sldChg>
      <pc:sldChg chg="mod modClrScheme chgLayout">
        <pc:chgData name="Wang, Xing1 /CN/EXT" userId="e7e3a264-d79f-4d05-b0dc-a26ea78b597a" providerId="ADAL" clId="{551703A3-D83B-4335-A4C7-83F2B3864171}" dt="2025-03-10T09:42:30.008" v="1481" actId="700"/>
        <pc:sldMkLst>
          <pc:docMk/>
          <pc:sldMk cId="505975562" sldId="2147376439"/>
        </pc:sldMkLst>
      </pc:sldChg>
      <pc:sldChg chg="mod modClrScheme chgLayout">
        <pc:chgData name="Wang, Xing1 /CN/EXT" userId="e7e3a264-d79f-4d05-b0dc-a26ea78b597a" providerId="ADAL" clId="{551703A3-D83B-4335-A4C7-83F2B3864171}" dt="2025-03-10T09:42:33.014" v="1482" actId="700"/>
        <pc:sldMkLst>
          <pc:docMk/>
          <pc:sldMk cId="1673379153" sldId="2147376441"/>
        </pc:sldMkLst>
      </pc:sldChg>
      <pc:sldChg chg="mod modClrScheme chgLayout">
        <pc:chgData name="Wang, Xing1 /CN/EXT" userId="e7e3a264-d79f-4d05-b0dc-a26ea78b597a" providerId="ADAL" clId="{551703A3-D83B-4335-A4C7-83F2B3864171}" dt="2025-03-10T09:42:25.714" v="1480" actId="700"/>
        <pc:sldMkLst>
          <pc:docMk/>
          <pc:sldMk cId="73919510" sldId="2147376442"/>
        </pc:sldMkLst>
      </pc:sldChg>
      <pc:sldChg chg="modSp mod modClrScheme chgLayout">
        <pc:chgData name="Wang, Xing1 /CN/EXT" userId="e7e3a264-d79f-4d05-b0dc-a26ea78b597a" providerId="ADAL" clId="{551703A3-D83B-4335-A4C7-83F2B3864171}" dt="2025-03-10T09:41:43.328" v="1469" actId="700"/>
        <pc:sldMkLst>
          <pc:docMk/>
          <pc:sldMk cId="2824793376" sldId="2147376444"/>
        </pc:sldMkLst>
        <pc:spChg chg="mod">
          <ac:chgData name="Wang, Xing1 /CN/EXT" userId="e7e3a264-d79f-4d05-b0dc-a26ea78b597a" providerId="ADAL" clId="{551703A3-D83B-4335-A4C7-83F2B3864171}" dt="2025-03-10T08:27:13.737" v="1154" actId="20577"/>
          <ac:spMkLst>
            <pc:docMk/>
            <pc:sldMk cId="2824793376" sldId="2147376444"/>
            <ac:spMk id="4" creationId="{2BB29E21-F94B-610C-7DC1-EEE97761DD05}"/>
          </ac:spMkLst>
        </pc:spChg>
      </pc:sldChg>
      <pc:sldChg chg="modSp mod modClrScheme chgLayout">
        <pc:chgData name="Wang, Xing1 /CN/EXT" userId="e7e3a264-d79f-4d05-b0dc-a26ea78b597a" providerId="ADAL" clId="{551703A3-D83B-4335-A4C7-83F2B3864171}" dt="2025-03-10T09:41:49.429" v="1470" actId="700"/>
        <pc:sldMkLst>
          <pc:docMk/>
          <pc:sldMk cId="674690702" sldId="2147376445"/>
        </pc:sldMkLst>
        <pc:spChg chg="mod">
          <ac:chgData name="Wang, Xing1 /CN/EXT" userId="e7e3a264-d79f-4d05-b0dc-a26ea78b597a" providerId="ADAL" clId="{551703A3-D83B-4335-A4C7-83F2B3864171}" dt="2025-03-10T09:36:23.770" v="1444" actId="1076"/>
          <ac:spMkLst>
            <pc:docMk/>
            <pc:sldMk cId="674690702" sldId="2147376445"/>
            <ac:spMk id="9" creationId="{0FCD7A1A-AC55-4A33-BF10-0F487B76AD7E}"/>
          </ac:spMkLst>
        </pc:spChg>
      </pc:sldChg>
      <pc:sldChg chg="del">
        <pc:chgData name="Wang, Xing1 /CN/EXT" userId="e7e3a264-d79f-4d05-b0dc-a26ea78b597a" providerId="ADAL" clId="{551703A3-D83B-4335-A4C7-83F2B3864171}" dt="2025-03-10T03:23:28.848" v="0" actId="2696"/>
        <pc:sldMkLst>
          <pc:docMk/>
          <pc:sldMk cId="359593139" sldId="2147376446"/>
        </pc:sldMkLst>
      </pc:sldChg>
      <pc:sldChg chg="addSp delSp modSp add mod modClrScheme chgLayout">
        <pc:chgData name="Wang, Xing1 /CN/EXT" userId="e7e3a264-d79f-4d05-b0dc-a26ea78b597a" providerId="ADAL" clId="{551703A3-D83B-4335-A4C7-83F2B3864171}" dt="2025-03-10T09:42:45.498" v="1485" actId="700"/>
        <pc:sldMkLst>
          <pc:docMk/>
          <pc:sldMk cId="3889439730" sldId="2147376446"/>
        </pc:sldMkLst>
        <pc:picChg chg="del">
          <ac:chgData name="Wang, Xing1 /CN/EXT" userId="e7e3a264-d79f-4d05-b0dc-a26ea78b597a" providerId="ADAL" clId="{551703A3-D83B-4335-A4C7-83F2B3864171}" dt="2025-03-10T08:53:58.781" v="1231" actId="478"/>
          <ac:picMkLst>
            <pc:docMk/>
            <pc:sldMk cId="3889439730" sldId="2147376446"/>
            <ac:picMk id="4" creationId="{FC6473E5-890A-42E9-4918-96464377C53B}"/>
          </ac:picMkLst>
        </pc:picChg>
        <pc:picChg chg="add mod">
          <ac:chgData name="Wang, Xing1 /CN/EXT" userId="e7e3a264-d79f-4d05-b0dc-a26ea78b597a" providerId="ADAL" clId="{551703A3-D83B-4335-A4C7-83F2B3864171}" dt="2025-03-10T08:54:18.969" v="1235" actId="1076"/>
          <ac:picMkLst>
            <pc:docMk/>
            <pc:sldMk cId="3889439730" sldId="2147376446"/>
            <ac:picMk id="5" creationId="{2E2DDF26-95CB-9CFD-A00E-A1DF16C71B57}"/>
          </ac:picMkLst>
        </pc:picChg>
      </pc:sldChg>
      <pc:sldChg chg="mod modClrScheme chgLayout">
        <pc:chgData name="Wang, Xing1 /CN/EXT" userId="e7e3a264-d79f-4d05-b0dc-a26ea78b597a" providerId="ADAL" clId="{551703A3-D83B-4335-A4C7-83F2B3864171}" dt="2025-03-10T09:43:47.412" v="1502" actId="700"/>
        <pc:sldMkLst>
          <pc:docMk/>
          <pc:sldMk cId="3218728706" sldId="2147376447"/>
        </pc:sldMkLst>
      </pc:sldChg>
      <pc:sldChg chg="mod modClrScheme chgLayout">
        <pc:chgData name="Wang, Xing1 /CN/EXT" userId="e7e3a264-d79f-4d05-b0dc-a26ea78b597a" providerId="ADAL" clId="{551703A3-D83B-4335-A4C7-83F2B3864171}" dt="2025-03-10T09:41:21.190" v="1464" actId="700"/>
        <pc:sldMkLst>
          <pc:docMk/>
          <pc:sldMk cId="786221991" sldId="2147376448"/>
        </pc:sldMkLst>
      </pc:sldChg>
      <pc:sldChg chg="mod modClrScheme chgLayout modNotesTx">
        <pc:chgData name="Wang, Xing1 /CN/EXT" userId="e7e3a264-d79f-4d05-b0dc-a26ea78b597a" providerId="ADAL" clId="{551703A3-D83B-4335-A4C7-83F2B3864171}" dt="2025-03-10T09:41:52.340" v="1471" actId="700"/>
        <pc:sldMkLst>
          <pc:docMk/>
          <pc:sldMk cId="1917435718" sldId="2147376449"/>
        </pc:sldMkLst>
      </pc:sldChg>
      <pc:sldChg chg="mod modClrScheme chgLayout">
        <pc:chgData name="Wang, Xing1 /CN/EXT" userId="e7e3a264-d79f-4d05-b0dc-a26ea78b597a" providerId="ADAL" clId="{551703A3-D83B-4335-A4C7-83F2B3864171}" dt="2025-03-10T09:43:32.540" v="1498" actId="700"/>
        <pc:sldMkLst>
          <pc:docMk/>
          <pc:sldMk cId="1639935486" sldId="2147376451"/>
        </pc:sldMkLst>
      </pc:sldChg>
      <pc:sldChg chg="modSp mod">
        <pc:chgData name="Wang, Xing1 /CN/EXT" userId="e7e3a264-d79f-4d05-b0dc-a26ea78b597a" providerId="ADAL" clId="{551703A3-D83B-4335-A4C7-83F2B3864171}" dt="2025-03-10T09:42:38.291" v="1483" actId="120"/>
        <pc:sldMkLst>
          <pc:docMk/>
          <pc:sldMk cId="2506401582" sldId="2147376452"/>
        </pc:sldMkLst>
        <pc:spChg chg="mod">
          <ac:chgData name="Wang, Xing1 /CN/EXT" userId="e7e3a264-d79f-4d05-b0dc-a26ea78b597a" providerId="ADAL" clId="{551703A3-D83B-4335-A4C7-83F2B3864171}" dt="2025-03-10T09:42:38.291" v="1483" actId="120"/>
          <ac:spMkLst>
            <pc:docMk/>
            <pc:sldMk cId="2506401582" sldId="2147376452"/>
            <ac:spMk id="3" creationId="{6D4A0C77-3ED9-B74C-8823-30518515F482}"/>
          </ac:spMkLst>
        </pc:spChg>
      </pc:sldChg>
      <pc:sldChg chg="modSp del mod">
        <pc:chgData name="Wang, Xing1 /CN/EXT" userId="e7e3a264-d79f-4d05-b0dc-a26ea78b597a" providerId="ADAL" clId="{551703A3-D83B-4335-A4C7-83F2B3864171}" dt="2025-03-10T09:48:05.614" v="1509" actId="47"/>
        <pc:sldMkLst>
          <pc:docMk/>
          <pc:sldMk cId="3359633286" sldId="2147376453"/>
        </pc:sldMkLst>
        <pc:spChg chg="mod">
          <ac:chgData name="Wang, Xing1 /CN/EXT" userId="e7e3a264-d79f-4d05-b0dc-a26ea78b597a" providerId="ADAL" clId="{551703A3-D83B-4335-A4C7-83F2B3864171}" dt="2025-03-10T09:43:39.936" v="1500" actId="120"/>
          <ac:spMkLst>
            <pc:docMk/>
            <pc:sldMk cId="3359633286" sldId="2147376453"/>
            <ac:spMk id="3" creationId="{6D4A0C77-3ED9-B74C-8823-30518515F482}"/>
          </ac:spMkLst>
        </pc:spChg>
      </pc:sldChg>
      <pc:sldChg chg="mod modClrScheme chgLayout">
        <pc:chgData name="Wang, Xing1 /CN/EXT" userId="e7e3a264-d79f-4d05-b0dc-a26ea78b597a" providerId="ADAL" clId="{551703A3-D83B-4335-A4C7-83F2B3864171}" dt="2025-03-10T09:42:59.211" v="1489" actId="700"/>
        <pc:sldMkLst>
          <pc:docMk/>
          <pc:sldMk cId="1614293848" sldId="2147376454"/>
        </pc:sldMkLst>
      </pc:sldChg>
      <pc:sldChg chg="mod modClrScheme chgLayout">
        <pc:chgData name="Wang, Xing1 /CN/EXT" userId="e7e3a264-d79f-4d05-b0dc-a26ea78b597a" providerId="ADAL" clId="{551703A3-D83B-4335-A4C7-83F2B3864171}" dt="2025-03-10T09:43:03.462" v="1490" actId="700"/>
        <pc:sldMkLst>
          <pc:docMk/>
          <pc:sldMk cId="1482520950" sldId="2147376455"/>
        </pc:sldMkLst>
      </pc:sldChg>
      <pc:sldChg chg="mod modClrScheme chgLayout">
        <pc:chgData name="Wang, Xing1 /CN/EXT" userId="e7e3a264-d79f-4d05-b0dc-a26ea78b597a" providerId="ADAL" clId="{551703A3-D83B-4335-A4C7-83F2B3864171}" dt="2025-03-10T09:43:12.156" v="1492" actId="700"/>
        <pc:sldMkLst>
          <pc:docMk/>
          <pc:sldMk cId="1400347754" sldId="2147376456"/>
        </pc:sldMkLst>
      </pc:sldChg>
      <pc:sldChg chg="mod modClrScheme chgLayout">
        <pc:chgData name="Wang, Xing1 /CN/EXT" userId="e7e3a264-d79f-4d05-b0dc-a26ea78b597a" providerId="ADAL" clId="{551703A3-D83B-4335-A4C7-83F2B3864171}" dt="2025-03-10T09:43:06.948" v="1491" actId="700"/>
        <pc:sldMkLst>
          <pc:docMk/>
          <pc:sldMk cId="3936317893" sldId="2147376457"/>
        </pc:sldMkLst>
      </pc:sldChg>
      <pc:sldChg chg="del mod ord modClrScheme chgLayout">
        <pc:chgData name="Wang, Xing1 /CN/EXT" userId="e7e3a264-d79f-4d05-b0dc-a26ea78b597a" providerId="ADAL" clId="{551703A3-D83B-4335-A4C7-83F2B3864171}" dt="2025-03-10T09:48:07.856" v="1510" actId="47"/>
        <pc:sldMkLst>
          <pc:docMk/>
          <pc:sldMk cId="2725673953" sldId="2147376460"/>
        </pc:sldMkLst>
      </pc:sldChg>
      <pc:sldChg chg="del">
        <pc:chgData name="Wang, Xing1 /CN/EXT" userId="e7e3a264-d79f-4d05-b0dc-a26ea78b597a" providerId="ADAL" clId="{551703A3-D83B-4335-A4C7-83F2B3864171}" dt="2025-03-10T07:56:16.942" v="1130" actId="2696"/>
        <pc:sldMkLst>
          <pc:docMk/>
          <pc:sldMk cId="2684339167" sldId="2147376461"/>
        </pc:sldMkLst>
      </pc:sldChg>
      <pc:sldChg chg="mod modClrScheme chgLayout">
        <pc:chgData name="Wang, Xing1 /CN/EXT" userId="e7e3a264-d79f-4d05-b0dc-a26ea78b597a" providerId="ADAL" clId="{551703A3-D83B-4335-A4C7-83F2B3864171}" dt="2025-03-10T09:43:15.368" v="1493" actId="700"/>
        <pc:sldMkLst>
          <pc:docMk/>
          <pc:sldMk cId="2037788145" sldId="2147376462"/>
        </pc:sldMkLst>
      </pc:sldChg>
      <pc:sldChg chg="addSp modSp add del mod">
        <pc:chgData name="Wang, Xing1 /CN/EXT" userId="e7e3a264-d79f-4d05-b0dc-a26ea78b597a" providerId="ADAL" clId="{551703A3-D83B-4335-A4C7-83F2B3864171}" dt="2025-03-10T08:36:59.045" v="1176" actId="2696"/>
        <pc:sldMkLst>
          <pc:docMk/>
          <pc:sldMk cId="1463318074" sldId="2147376463"/>
        </pc:sldMkLst>
        <pc:spChg chg="mod">
          <ac:chgData name="Wang, Xing1 /CN/EXT" userId="e7e3a264-d79f-4d05-b0dc-a26ea78b597a" providerId="ADAL" clId="{551703A3-D83B-4335-A4C7-83F2B3864171}" dt="2025-03-10T07:42:17.685" v="1118" actId="1076"/>
          <ac:spMkLst>
            <pc:docMk/>
            <pc:sldMk cId="1463318074" sldId="2147376463"/>
            <ac:spMk id="2" creationId="{D73B230C-1EC0-DB92-63AE-5824227C67CC}"/>
          </ac:spMkLst>
        </pc:spChg>
        <pc:spChg chg="mod">
          <ac:chgData name="Wang, Xing1 /CN/EXT" userId="e7e3a264-d79f-4d05-b0dc-a26ea78b597a" providerId="ADAL" clId="{551703A3-D83B-4335-A4C7-83F2B3864171}" dt="2025-03-10T07:42:14.384" v="1117" actId="1076"/>
          <ac:spMkLst>
            <pc:docMk/>
            <pc:sldMk cId="1463318074" sldId="2147376463"/>
            <ac:spMk id="4" creationId="{EC5A1D02-3A0B-4AE9-1054-393E381B3569}"/>
          </ac:spMkLst>
        </pc:spChg>
        <pc:picChg chg="add mod">
          <ac:chgData name="Wang, Xing1 /CN/EXT" userId="e7e3a264-d79f-4d05-b0dc-a26ea78b597a" providerId="ADAL" clId="{551703A3-D83B-4335-A4C7-83F2B3864171}" dt="2025-03-10T07:55:59.082" v="1127" actId="1076"/>
          <ac:picMkLst>
            <pc:docMk/>
            <pc:sldMk cId="1463318074" sldId="2147376463"/>
            <ac:picMk id="5" creationId="{965FDC95-C5FC-D6F1-AA59-6DABDBAB6364}"/>
          </ac:picMkLst>
        </pc:picChg>
        <pc:picChg chg="mod">
          <ac:chgData name="Wang, Xing1 /CN/EXT" userId="e7e3a264-d79f-4d05-b0dc-a26ea78b597a" providerId="ADAL" clId="{551703A3-D83B-4335-A4C7-83F2B3864171}" dt="2025-03-10T07:55:56.316" v="1126" actId="1076"/>
          <ac:picMkLst>
            <pc:docMk/>
            <pc:sldMk cId="1463318074" sldId="2147376463"/>
            <ac:picMk id="6" creationId="{F847F4D6-02CE-3A44-5117-12C09279D2CE}"/>
          </ac:picMkLst>
        </pc:picChg>
      </pc:sldChg>
      <pc:sldChg chg="del">
        <pc:chgData name="Wang, Xing1 /CN/EXT" userId="e7e3a264-d79f-4d05-b0dc-a26ea78b597a" providerId="ADAL" clId="{551703A3-D83B-4335-A4C7-83F2B3864171}" dt="2025-03-10T07:38:03.008" v="1083" actId="2696"/>
        <pc:sldMkLst>
          <pc:docMk/>
          <pc:sldMk cId="1732839450" sldId="2147376463"/>
        </pc:sldMkLst>
      </pc:sldChg>
      <pc:sldChg chg="add del">
        <pc:chgData name="Wang, Xing1 /CN/EXT" userId="e7e3a264-d79f-4d05-b0dc-a26ea78b597a" providerId="ADAL" clId="{551703A3-D83B-4335-A4C7-83F2B3864171}" dt="2025-03-10T08:49:32.171" v="1214" actId="47"/>
        <pc:sldMkLst>
          <pc:docMk/>
          <pc:sldMk cId="2302033817" sldId="2147376463"/>
        </pc:sldMkLst>
      </pc:sldChg>
      <pc:sldChg chg="modSp del mod">
        <pc:chgData name="Wang, Xing1 /CN/EXT" userId="e7e3a264-d79f-4d05-b0dc-a26ea78b597a" providerId="ADAL" clId="{551703A3-D83B-4335-A4C7-83F2B3864171}" dt="2025-03-10T07:19:29.687" v="959" actId="2696"/>
        <pc:sldMkLst>
          <pc:docMk/>
          <pc:sldMk cId="1961777095" sldId="2147376464"/>
        </pc:sldMkLst>
        <pc:spChg chg="mod">
          <ac:chgData name="Wang, Xing1 /CN/EXT" userId="e7e3a264-d79f-4d05-b0dc-a26ea78b597a" providerId="ADAL" clId="{551703A3-D83B-4335-A4C7-83F2B3864171}" dt="2025-03-10T04:20:34.917" v="770" actId="1076"/>
          <ac:spMkLst>
            <pc:docMk/>
            <pc:sldMk cId="1961777095" sldId="2147376464"/>
            <ac:spMk id="2" creationId="{D73B230C-1EC0-DB92-63AE-5824227C67CC}"/>
          </ac:spMkLst>
        </pc:spChg>
        <pc:spChg chg="mod">
          <ac:chgData name="Wang, Xing1 /CN/EXT" userId="e7e3a264-d79f-4d05-b0dc-a26ea78b597a" providerId="ADAL" clId="{551703A3-D83B-4335-A4C7-83F2B3864171}" dt="2025-03-10T05:56:12.565" v="782" actId="207"/>
          <ac:spMkLst>
            <pc:docMk/>
            <pc:sldMk cId="1961777095" sldId="2147376464"/>
            <ac:spMk id="4" creationId="{F66724D7-BB99-EE9E-A348-7283485DD455}"/>
          </ac:spMkLst>
        </pc:spChg>
      </pc:sldChg>
      <pc:sldChg chg="mod modClrScheme chgLayout">
        <pc:chgData name="Wang, Xing1 /CN/EXT" userId="e7e3a264-d79f-4d05-b0dc-a26ea78b597a" providerId="ADAL" clId="{551703A3-D83B-4335-A4C7-83F2B3864171}" dt="2025-03-10T09:43:18.154" v="1494" actId="700"/>
        <pc:sldMkLst>
          <pc:docMk/>
          <pc:sldMk cId="3535044655" sldId="2147376465"/>
        </pc:sldMkLst>
      </pc:sldChg>
      <pc:sldChg chg="mod modClrScheme chgLayout">
        <pc:chgData name="Wang, Xing1 /CN/EXT" userId="e7e3a264-d79f-4d05-b0dc-a26ea78b597a" providerId="ADAL" clId="{551703A3-D83B-4335-A4C7-83F2B3864171}" dt="2025-03-10T09:43:23.649" v="1495" actId="700"/>
        <pc:sldMkLst>
          <pc:docMk/>
          <pc:sldMk cId="4266056340" sldId="2147376467"/>
        </pc:sldMkLst>
      </pc:sldChg>
      <pc:sldChg chg="mod modClrScheme chgLayout">
        <pc:chgData name="Wang, Xing1 /CN/EXT" userId="e7e3a264-d79f-4d05-b0dc-a26ea78b597a" providerId="ADAL" clId="{551703A3-D83B-4335-A4C7-83F2B3864171}" dt="2025-03-10T09:43:26.658" v="1496" actId="700"/>
        <pc:sldMkLst>
          <pc:docMk/>
          <pc:sldMk cId="1236000972" sldId="2147376469"/>
        </pc:sldMkLst>
      </pc:sldChg>
      <pc:sldChg chg="modSp mod modClrScheme chgLayout">
        <pc:chgData name="Wang, Xing1 /CN/EXT" userId="e7e3a264-d79f-4d05-b0dc-a26ea78b597a" providerId="ADAL" clId="{551703A3-D83B-4335-A4C7-83F2B3864171}" dt="2025-03-10T09:43:29.687" v="1497" actId="700"/>
        <pc:sldMkLst>
          <pc:docMk/>
          <pc:sldMk cId="1140018203" sldId="2147376470"/>
        </pc:sldMkLst>
        <pc:spChg chg="mod">
          <ac:chgData name="Wang, Xing1 /CN/EXT" userId="e7e3a264-d79f-4d05-b0dc-a26ea78b597a" providerId="ADAL" clId="{551703A3-D83B-4335-A4C7-83F2B3864171}" dt="2025-03-10T07:57:37.820" v="1134" actId="1076"/>
          <ac:spMkLst>
            <pc:docMk/>
            <pc:sldMk cId="1140018203" sldId="2147376470"/>
            <ac:spMk id="2" creationId="{D73B230C-1EC0-DB92-63AE-5824227C67CC}"/>
          </ac:spMkLst>
        </pc:spChg>
        <pc:spChg chg="mod">
          <ac:chgData name="Wang, Xing1 /CN/EXT" userId="e7e3a264-d79f-4d05-b0dc-a26ea78b597a" providerId="ADAL" clId="{551703A3-D83B-4335-A4C7-83F2B3864171}" dt="2025-03-10T07:58:22.248" v="1148" actId="20577"/>
          <ac:spMkLst>
            <pc:docMk/>
            <pc:sldMk cId="1140018203" sldId="2147376470"/>
            <ac:spMk id="5" creationId="{F11557E1-DBAC-012C-1ECC-CB10B6272ABD}"/>
          </ac:spMkLst>
        </pc:spChg>
      </pc:sldChg>
      <pc:sldChg chg="addSp delSp modSp add mod modClrScheme chgLayout">
        <pc:chgData name="Wang, Xing1 /CN/EXT" userId="e7e3a264-d79f-4d05-b0dc-a26ea78b597a" providerId="ADAL" clId="{551703A3-D83B-4335-A4C7-83F2B3864171}" dt="2025-03-10T09:42:48.360" v="1486" actId="700"/>
        <pc:sldMkLst>
          <pc:docMk/>
          <pc:sldMk cId="1191020517" sldId="2147376471"/>
        </pc:sldMkLst>
        <pc:spChg chg="mod">
          <ac:chgData name="Wang, Xing1 /CN/EXT" userId="e7e3a264-d79f-4d05-b0dc-a26ea78b597a" providerId="ADAL" clId="{551703A3-D83B-4335-A4C7-83F2B3864171}" dt="2025-03-10T09:03:27.319" v="1352" actId="207"/>
          <ac:spMkLst>
            <pc:docMk/>
            <pc:sldMk cId="1191020517" sldId="2147376471"/>
            <ac:spMk id="2" creationId="{D73B230C-1EC0-DB92-63AE-5824227C67CC}"/>
          </ac:spMkLst>
        </pc:spChg>
        <pc:spChg chg="add del mod">
          <ac:chgData name="Wang, Xing1 /CN/EXT" userId="e7e3a264-d79f-4d05-b0dc-a26ea78b597a" providerId="ADAL" clId="{551703A3-D83B-4335-A4C7-83F2B3864171}" dt="2025-03-10T03:47:59.729" v="10" actId="478"/>
          <ac:spMkLst>
            <pc:docMk/>
            <pc:sldMk cId="1191020517" sldId="2147376471"/>
            <ac:spMk id="3" creationId="{A28C9842-CFED-A056-B199-E492EC9F29EF}"/>
          </ac:spMkLst>
        </pc:spChg>
        <pc:spChg chg="add mod">
          <ac:chgData name="Wang, Xing1 /CN/EXT" userId="e7e3a264-d79f-4d05-b0dc-a26ea78b597a" providerId="ADAL" clId="{551703A3-D83B-4335-A4C7-83F2B3864171}" dt="2025-03-10T09:03:35.545" v="1366" actId="1036"/>
          <ac:spMkLst>
            <pc:docMk/>
            <pc:sldMk cId="1191020517" sldId="2147376471"/>
            <ac:spMk id="6" creationId="{07E09513-F1D6-72DF-18D4-989C8415E781}"/>
          </ac:spMkLst>
        </pc:spChg>
        <pc:spChg chg="add del mod">
          <ac:chgData name="Wang, Xing1 /CN/EXT" userId="e7e3a264-d79f-4d05-b0dc-a26ea78b597a" providerId="ADAL" clId="{551703A3-D83B-4335-A4C7-83F2B3864171}" dt="2025-03-10T03:50:23.045" v="55" actId="478"/>
          <ac:spMkLst>
            <pc:docMk/>
            <pc:sldMk cId="1191020517" sldId="2147376471"/>
            <ac:spMk id="6" creationId="{59BC3925-9782-6D5E-FB13-7714E28D18A8}"/>
          </ac:spMkLst>
        </pc:spChg>
        <pc:spChg chg="add mod">
          <ac:chgData name="Wang, Xing1 /CN/EXT" userId="e7e3a264-d79f-4d05-b0dc-a26ea78b597a" providerId="ADAL" clId="{551703A3-D83B-4335-A4C7-83F2B3864171}" dt="2025-03-10T03:52:50.030" v="110" actId="164"/>
          <ac:spMkLst>
            <pc:docMk/>
            <pc:sldMk cId="1191020517" sldId="2147376471"/>
            <ac:spMk id="7" creationId="{8907E449-E83B-37DD-AB05-11F7D56BE435}"/>
          </ac:spMkLst>
        </pc:spChg>
        <pc:spChg chg="add mod">
          <ac:chgData name="Wang, Xing1 /CN/EXT" userId="e7e3a264-d79f-4d05-b0dc-a26ea78b597a" providerId="ADAL" clId="{551703A3-D83B-4335-A4C7-83F2B3864171}" dt="2025-03-10T09:05:38.312" v="1383" actId="207"/>
          <ac:spMkLst>
            <pc:docMk/>
            <pc:sldMk cId="1191020517" sldId="2147376471"/>
            <ac:spMk id="8" creationId="{F490EF64-FAF0-B97B-203E-6506952896C2}"/>
          </ac:spMkLst>
        </pc:spChg>
        <pc:spChg chg="add del mod">
          <ac:chgData name="Wang, Xing1 /CN/EXT" userId="e7e3a264-d79f-4d05-b0dc-a26ea78b597a" providerId="ADAL" clId="{551703A3-D83B-4335-A4C7-83F2B3864171}" dt="2025-03-10T08:55:27.258" v="1245" actId="478"/>
          <ac:spMkLst>
            <pc:docMk/>
            <pc:sldMk cId="1191020517" sldId="2147376471"/>
            <ac:spMk id="11" creationId="{0F36819F-7198-EBB1-CBD8-AE307435C3B5}"/>
          </ac:spMkLst>
        </pc:spChg>
        <pc:spChg chg="add mod">
          <ac:chgData name="Wang, Xing1 /CN/EXT" userId="e7e3a264-d79f-4d05-b0dc-a26ea78b597a" providerId="ADAL" clId="{551703A3-D83B-4335-A4C7-83F2B3864171}" dt="2025-03-10T04:13:50.974" v="661" actId="164"/>
          <ac:spMkLst>
            <pc:docMk/>
            <pc:sldMk cId="1191020517" sldId="2147376471"/>
            <ac:spMk id="12" creationId="{DE9130D1-9495-491F-ADF0-50917B63AE29}"/>
          </ac:spMkLst>
        </pc:spChg>
        <pc:spChg chg="add mod">
          <ac:chgData name="Wang, Xing1 /CN/EXT" userId="e7e3a264-d79f-4d05-b0dc-a26ea78b597a" providerId="ADAL" clId="{551703A3-D83B-4335-A4C7-83F2B3864171}" dt="2025-03-10T09:05:32.310" v="1382" actId="207"/>
          <ac:spMkLst>
            <pc:docMk/>
            <pc:sldMk cId="1191020517" sldId="2147376471"/>
            <ac:spMk id="13" creationId="{87572D68-3DED-F6CD-835D-6F341161B11A}"/>
          </ac:spMkLst>
        </pc:spChg>
        <pc:spChg chg="mod">
          <ac:chgData name="Wang, Xing1 /CN/EXT" userId="e7e3a264-d79f-4d05-b0dc-a26ea78b597a" providerId="ADAL" clId="{551703A3-D83B-4335-A4C7-83F2B3864171}" dt="2025-03-10T03:54:11.583" v="142"/>
          <ac:spMkLst>
            <pc:docMk/>
            <pc:sldMk cId="1191020517" sldId="2147376471"/>
            <ac:spMk id="15" creationId="{07131DBE-4ED3-D514-5BC8-DB13BFA8BD77}"/>
          </ac:spMkLst>
        </pc:spChg>
        <pc:spChg chg="mod">
          <ac:chgData name="Wang, Xing1 /CN/EXT" userId="e7e3a264-d79f-4d05-b0dc-a26ea78b597a" providerId="ADAL" clId="{551703A3-D83B-4335-A4C7-83F2B3864171}" dt="2025-03-10T09:05:42.017" v="1384" actId="207"/>
          <ac:spMkLst>
            <pc:docMk/>
            <pc:sldMk cId="1191020517" sldId="2147376471"/>
            <ac:spMk id="16" creationId="{6AFA667F-85A9-CD0A-98CE-F3AFC3F40A52}"/>
          </ac:spMkLst>
        </pc:spChg>
        <pc:spChg chg="add mod">
          <ac:chgData name="Wang, Xing1 /CN/EXT" userId="e7e3a264-d79f-4d05-b0dc-a26ea78b597a" providerId="ADAL" clId="{551703A3-D83B-4335-A4C7-83F2B3864171}" dt="2025-03-10T08:58:08.272" v="1305" actId="1076"/>
          <ac:spMkLst>
            <pc:docMk/>
            <pc:sldMk cId="1191020517" sldId="2147376471"/>
            <ac:spMk id="17" creationId="{04559FBC-9DED-A234-FC30-13FD358456B8}"/>
          </ac:spMkLst>
        </pc:spChg>
        <pc:spChg chg="add mod">
          <ac:chgData name="Wang, Xing1 /CN/EXT" userId="e7e3a264-d79f-4d05-b0dc-a26ea78b597a" providerId="ADAL" clId="{551703A3-D83B-4335-A4C7-83F2B3864171}" dt="2025-03-10T04:13:50.974" v="661" actId="164"/>
          <ac:spMkLst>
            <pc:docMk/>
            <pc:sldMk cId="1191020517" sldId="2147376471"/>
            <ac:spMk id="18" creationId="{29A93464-8591-8581-10A8-777A419F81DB}"/>
          </ac:spMkLst>
        </pc:spChg>
        <pc:spChg chg="add mod">
          <ac:chgData name="Wang, Xing1 /CN/EXT" userId="e7e3a264-d79f-4d05-b0dc-a26ea78b597a" providerId="ADAL" clId="{551703A3-D83B-4335-A4C7-83F2B3864171}" dt="2025-03-10T09:06:00.524" v="1390" actId="207"/>
          <ac:spMkLst>
            <pc:docMk/>
            <pc:sldMk cId="1191020517" sldId="2147376471"/>
            <ac:spMk id="19" creationId="{BEE49E4E-C332-11F5-99AB-F2FD0431E68D}"/>
          </ac:spMkLst>
        </pc:spChg>
        <pc:spChg chg="mod">
          <ac:chgData name="Wang, Xing1 /CN/EXT" userId="e7e3a264-d79f-4d05-b0dc-a26ea78b597a" providerId="ADAL" clId="{551703A3-D83B-4335-A4C7-83F2B3864171}" dt="2025-03-10T03:54:52.285" v="182"/>
          <ac:spMkLst>
            <pc:docMk/>
            <pc:sldMk cId="1191020517" sldId="2147376471"/>
            <ac:spMk id="21" creationId="{AB3915A6-5445-79D0-AB69-47542C4D2363}"/>
          </ac:spMkLst>
        </pc:spChg>
        <pc:spChg chg="mod">
          <ac:chgData name="Wang, Xing1 /CN/EXT" userId="e7e3a264-d79f-4d05-b0dc-a26ea78b597a" providerId="ADAL" clId="{551703A3-D83B-4335-A4C7-83F2B3864171}" dt="2025-03-10T09:05:47.921" v="1387" actId="113"/>
          <ac:spMkLst>
            <pc:docMk/>
            <pc:sldMk cId="1191020517" sldId="2147376471"/>
            <ac:spMk id="22" creationId="{14D92B19-699F-1807-CE43-201356F898FE}"/>
          </ac:spMkLst>
        </pc:spChg>
        <pc:spChg chg="add del mod">
          <ac:chgData name="Wang, Xing1 /CN/EXT" userId="e7e3a264-d79f-4d05-b0dc-a26ea78b597a" providerId="ADAL" clId="{551703A3-D83B-4335-A4C7-83F2B3864171}" dt="2025-03-10T08:55:30.995" v="1246" actId="478"/>
          <ac:spMkLst>
            <pc:docMk/>
            <pc:sldMk cId="1191020517" sldId="2147376471"/>
            <ac:spMk id="23" creationId="{D33A112A-6667-D63A-7104-1A9365E1C239}"/>
          </ac:spMkLst>
        </pc:spChg>
        <pc:spChg chg="add mod">
          <ac:chgData name="Wang, Xing1 /CN/EXT" userId="e7e3a264-d79f-4d05-b0dc-a26ea78b597a" providerId="ADAL" clId="{551703A3-D83B-4335-A4C7-83F2B3864171}" dt="2025-03-10T04:13:50.974" v="661" actId="164"/>
          <ac:spMkLst>
            <pc:docMk/>
            <pc:sldMk cId="1191020517" sldId="2147376471"/>
            <ac:spMk id="24" creationId="{58D60B90-D8BA-5260-5E6A-CA893C679CDD}"/>
          </ac:spMkLst>
        </pc:spChg>
        <pc:spChg chg="add mod">
          <ac:chgData name="Wang, Xing1 /CN/EXT" userId="e7e3a264-d79f-4d05-b0dc-a26ea78b597a" providerId="ADAL" clId="{551703A3-D83B-4335-A4C7-83F2B3864171}" dt="2025-03-10T08:54:59.273" v="1236" actId="21"/>
          <ac:spMkLst>
            <pc:docMk/>
            <pc:sldMk cId="1191020517" sldId="2147376471"/>
            <ac:spMk id="25" creationId="{7D43F30D-EFD1-247C-0AAC-F733521E5B12}"/>
          </ac:spMkLst>
        </pc:spChg>
        <pc:spChg chg="add del mod">
          <ac:chgData name="Wang, Xing1 /CN/EXT" userId="e7e3a264-d79f-4d05-b0dc-a26ea78b597a" providerId="ADAL" clId="{551703A3-D83B-4335-A4C7-83F2B3864171}" dt="2025-03-10T08:59:44.571" v="1320" actId="478"/>
          <ac:spMkLst>
            <pc:docMk/>
            <pc:sldMk cId="1191020517" sldId="2147376471"/>
            <ac:spMk id="26" creationId="{E18A82A8-08A1-4B82-BF4C-BF9A67460E0D}"/>
          </ac:spMkLst>
        </pc:spChg>
        <pc:spChg chg="add mod">
          <ac:chgData name="Wang, Xing1 /CN/EXT" userId="e7e3a264-d79f-4d05-b0dc-a26ea78b597a" providerId="ADAL" clId="{551703A3-D83B-4335-A4C7-83F2B3864171}" dt="2025-03-10T09:06:06.371" v="1392" actId="207"/>
          <ac:spMkLst>
            <pc:docMk/>
            <pc:sldMk cId="1191020517" sldId="2147376471"/>
            <ac:spMk id="27" creationId="{4D53D48A-5C7C-455D-8888-9C890368A2DF}"/>
          </ac:spMkLst>
        </pc:spChg>
        <pc:spChg chg="add del mod">
          <ac:chgData name="Wang, Xing1 /CN/EXT" userId="e7e3a264-d79f-4d05-b0dc-a26ea78b597a" providerId="ADAL" clId="{551703A3-D83B-4335-A4C7-83F2B3864171}" dt="2025-03-10T08:58:39.838" v="1312" actId="478"/>
          <ac:spMkLst>
            <pc:docMk/>
            <pc:sldMk cId="1191020517" sldId="2147376471"/>
            <ac:spMk id="28" creationId="{AD91C154-FFCD-E678-6A4E-C29B0109F1D9}"/>
          </ac:spMkLst>
        </pc:spChg>
        <pc:spChg chg="del mod topLvl">
          <ac:chgData name="Wang, Xing1 /CN/EXT" userId="e7e3a264-d79f-4d05-b0dc-a26ea78b597a" providerId="ADAL" clId="{551703A3-D83B-4335-A4C7-83F2B3864171}" dt="2025-03-10T09:01:50.559" v="1337" actId="478"/>
          <ac:spMkLst>
            <pc:docMk/>
            <pc:sldMk cId="1191020517" sldId="2147376471"/>
            <ac:spMk id="30" creationId="{7EF0533D-B6A7-FF4A-CE78-02980D2E67F1}"/>
          </ac:spMkLst>
        </pc:spChg>
        <pc:spChg chg="del mod topLvl">
          <ac:chgData name="Wang, Xing1 /CN/EXT" userId="e7e3a264-d79f-4d05-b0dc-a26ea78b597a" providerId="ADAL" clId="{551703A3-D83B-4335-A4C7-83F2B3864171}" dt="2025-03-10T09:01:53.764" v="1338" actId="478"/>
          <ac:spMkLst>
            <pc:docMk/>
            <pc:sldMk cId="1191020517" sldId="2147376471"/>
            <ac:spMk id="31" creationId="{122B7FA0-45DB-7D34-1E68-342EBC68902A}"/>
          </ac:spMkLst>
        </pc:spChg>
        <pc:spChg chg="add mod">
          <ac:chgData name="Wang, Xing1 /CN/EXT" userId="e7e3a264-d79f-4d05-b0dc-a26ea78b597a" providerId="ADAL" clId="{551703A3-D83B-4335-A4C7-83F2B3864171}" dt="2025-03-10T08:59:50.979" v="1321" actId="1076"/>
          <ac:spMkLst>
            <pc:docMk/>
            <pc:sldMk cId="1191020517" sldId="2147376471"/>
            <ac:spMk id="32" creationId="{531E02AB-EFDF-1F78-AB3B-E6BEBF4FCE2A}"/>
          </ac:spMkLst>
        </pc:spChg>
        <pc:spChg chg="add mod">
          <ac:chgData name="Wang, Xing1 /CN/EXT" userId="e7e3a264-d79f-4d05-b0dc-a26ea78b597a" providerId="ADAL" clId="{551703A3-D83B-4335-A4C7-83F2B3864171}" dt="2025-03-10T09:06:11.285" v="1394" actId="207"/>
          <ac:spMkLst>
            <pc:docMk/>
            <pc:sldMk cId="1191020517" sldId="2147376471"/>
            <ac:spMk id="33" creationId="{5191EAB9-052E-6D3F-7B3C-EEE891943CC4}"/>
          </ac:spMkLst>
        </pc:spChg>
        <pc:spChg chg="add del mod">
          <ac:chgData name="Wang, Xing1 /CN/EXT" userId="e7e3a264-d79f-4d05-b0dc-a26ea78b597a" providerId="ADAL" clId="{551703A3-D83B-4335-A4C7-83F2B3864171}" dt="2025-03-10T08:58:42.026" v="1313" actId="478"/>
          <ac:spMkLst>
            <pc:docMk/>
            <pc:sldMk cId="1191020517" sldId="2147376471"/>
            <ac:spMk id="34" creationId="{8494383F-8451-AB9F-CB7C-324D493C3EF2}"/>
          </ac:spMkLst>
        </pc:spChg>
        <pc:spChg chg="add del">
          <ac:chgData name="Wang, Xing1 /CN/EXT" userId="e7e3a264-d79f-4d05-b0dc-a26ea78b597a" providerId="ADAL" clId="{551703A3-D83B-4335-A4C7-83F2B3864171}" dt="2025-03-10T09:00:32.267" v="1326" actId="478"/>
          <ac:spMkLst>
            <pc:docMk/>
            <pc:sldMk cId="1191020517" sldId="2147376471"/>
            <ac:spMk id="35" creationId="{41D2D76A-7CED-D661-EA16-62620E727BD3}"/>
          </ac:spMkLst>
        </pc:spChg>
        <pc:spChg chg="mod topLvl">
          <ac:chgData name="Wang, Xing1 /CN/EXT" userId="e7e3a264-d79f-4d05-b0dc-a26ea78b597a" providerId="ADAL" clId="{551703A3-D83B-4335-A4C7-83F2B3864171}" dt="2025-03-10T09:02:04.135" v="1339" actId="1076"/>
          <ac:spMkLst>
            <pc:docMk/>
            <pc:sldMk cId="1191020517" sldId="2147376471"/>
            <ac:spMk id="36" creationId="{6A6FE825-4B16-8B07-05DB-3E821FA2858E}"/>
          </ac:spMkLst>
        </pc:spChg>
        <pc:spChg chg="mod topLvl">
          <ac:chgData name="Wang, Xing1 /CN/EXT" userId="e7e3a264-d79f-4d05-b0dc-a26ea78b597a" providerId="ADAL" clId="{551703A3-D83B-4335-A4C7-83F2B3864171}" dt="2025-03-10T09:07:02.464" v="1426" actId="113"/>
          <ac:spMkLst>
            <pc:docMk/>
            <pc:sldMk cId="1191020517" sldId="2147376471"/>
            <ac:spMk id="37" creationId="{0A0CD8BA-C7EA-FA39-BBAF-90686CC55DDC}"/>
          </ac:spMkLst>
        </pc:spChg>
        <pc:spChg chg="add mod">
          <ac:chgData name="Wang, Xing1 /CN/EXT" userId="e7e3a264-d79f-4d05-b0dc-a26ea78b597a" providerId="ADAL" clId="{551703A3-D83B-4335-A4C7-83F2B3864171}" dt="2025-03-10T09:00:04.789" v="1323" actId="1076"/>
          <ac:spMkLst>
            <pc:docMk/>
            <pc:sldMk cId="1191020517" sldId="2147376471"/>
            <ac:spMk id="38" creationId="{08A10C46-A81E-D1E6-4D62-31274CCDA600}"/>
          </ac:spMkLst>
        </pc:spChg>
        <pc:spChg chg="add mod">
          <ac:chgData name="Wang, Xing1 /CN/EXT" userId="e7e3a264-d79f-4d05-b0dc-a26ea78b597a" providerId="ADAL" clId="{551703A3-D83B-4335-A4C7-83F2B3864171}" dt="2025-03-10T09:06:18.484" v="1398" actId="207"/>
          <ac:spMkLst>
            <pc:docMk/>
            <pc:sldMk cId="1191020517" sldId="2147376471"/>
            <ac:spMk id="39" creationId="{94FFF5CD-812D-0D81-94C9-A2094B30C998}"/>
          </ac:spMkLst>
        </pc:spChg>
        <pc:spChg chg="add del mod">
          <ac:chgData name="Wang, Xing1 /CN/EXT" userId="e7e3a264-d79f-4d05-b0dc-a26ea78b597a" providerId="ADAL" clId="{551703A3-D83B-4335-A4C7-83F2B3864171}" dt="2025-03-10T08:58:43.879" v="1314" actId="478"/>
          <ac:spMkLst>
            <pc:docMk/>
            <pc:sldMk cId="1191020517" sldId="2147376471"/>
            <ac:spMk id="40" creationId="{0558F197-2381-5421-844A-9093638319EF}"/>
          </ac:spMkLst>
        </pc:spChg>
        <pc:spChg chg="add del mod">
          <ac:chgData name="Wang, Xing1 /CN/EXT" userId="e7e3a264-d79f-4d05-b0dc-a26ea78b597a" providerId="ADAL" clId="{551703A3-D83B-4335-A4C7-83F2B3864171}" dt="2025-03-10T09:01:04.590" v="1336" actId="478"/>
          <ac:spMkLst>
            <pc:docMk/>
            <pc:sldMk cId="1191020517" sldId="2147376471"/>
            <ac:spMk id="41" creationId="{670292D8-8718-65C3-1B0E-023C6BFFAD7A}"/>
          </ac:spMkLst>
        </pc:spChg>
        <pc:spChg chg="mod topLvl">
          <ac:chgData name="Wang, Xing1 /CN/EXT" userId="e7e3a264-d79f-4d05-b0dc-a26ea78b597a" providerId="ADAL" clId="{551703A3-D83B-4335-A4C7-83F2B3864171}" dt="2025-03-10T09:02:24.181" v="1341" actId="1076"/>
          <ac:spMkLst>
            <pc:docMk/>
            <pc:sldMk cId="1191020517" sldId="2147376471"/>
            <ac:spMk id="42" creationId="{746692E7-D942-E89F-2132-41938C78980E}"/>
          </ac:spMkLst>
        </pc:spChg>
        <pc:spChg chg="mod topLvl">
          <ac:chgData name="Wang, Xing1 /CN/EXT" userId="e7e3a264-d79f-4d05-b0dc-a26ea78b597a" providerId="ADAL" clId="{551703A3-D83B-4335-A4C7-83F2B3864171}" dt="2025-03-10T09:07:05.397" v="1427" actId="113"/>
          <ac:spMkLst>
            <pc:docMk/>
            <pc:sldMk cId="1191020517" sldId="2147376471"/>
            <ac:spMk id="43" creationId="{2D9F105C-AB8C-ED11-B9D7-AF0E0E5BDC24}"/>
          </ac:spMkLst>
        </pc:spChg>
        <pc:spChg chg="add mod">
          <ac:chgData name="Wang, Xing1 /CN/EXT" userId="e7e3a264-d79f-4d05-b0dc-a26ea78b597a" providerId="ADAL" clId="{551703A3-D83B-4335-A4C7-83F2B3864171}" dt="2025-03-10T09:03:35.545" v="1366" actId="1036"/>
          <ac:spMkLst>
            <pc:docMk/>
            <pc:sldMk cId="1191020517" sldId="2147376471"/>
            <ac:spMk id="45" creationId="{F209CE40-9702-2FF8-2602-78AB598F5B90}"/>
          </ac:spMkLst>
        </pc:spChg>
        <pc:spChg chg="add mod">
          <ac:chgData name="Wang, Xing1 /CN/EXT" userId="e7e3a264-d79f-4d05-b0dc-a26ea78b597a" providerId="ADAL" clId="{551703A3-D83B-4335-A4C7-83F2B3864171}" dt="2025-03-10T04:15:16.092" v="673"/>
          <ac:spMkLst>
            <pc:docMk/>
            <pc:sldMk cId="1191020517" sldId="2147376471"/>
            <ac:spMk id="46" creationId="{18EC0737-493B-ABE7-E945-2198382B96A5}"/>
          </ac:spMkLst>
        </pc:spChg>
        <pc:spChg chg="add mod">
          <ac:chgData name="Wang, Xing1 /CN/EXT" userId="e7e3a264-d79f-4d05-b0dc-a26ea78b597a" providerId="ADAL" clId="{551703A3-D83B-4335-A4C7-83F2B3864171}" dt="2025-03-10T04:15:16.092" v="673"/>
          <ac:spMkLst>
            <pc:docMk/>
            <pc:sldMk cId="1191020517" sldId="2147376471"/>
            <ac:spMk id="47" creationId="{A1F10DF1-E650-7D33-F630-247675EED6DA}"/>
          </ac:spMkLst>
        </pc:spChg>
        <pc:spChg chg="add mod">
          <ac:chgData name="Wang, Xing1 /CN/EXT" userId="e7e3a264-d79f-4d05-b0dc-a26ea78b597a" providerId="ADAL" clId="{551703A3-D83B-4335-A4C7-83F2B3864171}" dt="2025-03-10T04:15:16.092" v="673"/>
          <ac:spMkLst>
            <pc:docMk/>
            <pc:sldMk cId="1191020517" sldId="2147376471"/>
            <ac:spMk id="48" creationId="{EBB87A99-A3E7-1DDA-27AE-E1A9544F520E}"/>
          </ac:spMkLst>
        </pc:spChg>
        <pc:spChg chg="mod">
          <ac:chgData name="Wang, Xing1 /CN/EXT" userId="e7e3a264-d79f-4d05-b0dc-a26ea78b597a" providerId="ADAL" clId="{551703A3-D83B-4335-A4C7-83F2B3864171}" dt="2025-03-10T04:15:16.092" v="673"/>
          <ac:spMkLst>
            <pc:docMk/>
            <pc:sldMk cId="1191020517" sldId="2147376471"/>
            <ac:spMk id="50" creationId="{45884844-BBEA-A387-533B-BCAEBFA03FAD}"/>
          </ac:spMkLst>
        </pc:spChg>
        <pc:spChg chg="mod">
          <ac:chgData name="Wang, Xing1 /CN/EXT" userId="e7e3a264-d79f-4d05-b0dc-a26ea78b597a" providerId="ADAL" clId="{551703A3-D83B-4335-A4C7-83F2B3864171}" dt="2025-03-10T04:15:16.092" v="673"/>
          <ac:spMkLst>
            <pc:docMk/>
            <pc:sldMk cId="1191020517" sldId="2147376471"/>
            <ac:spMk id="51" creationId="{C5170815-375E-03E8-4BE9-D3614DBA65AC}"/>
          </ac:spMkLst>
        </pc:spChg>
        <pc:spChg chg="add mod">
          <ac:chgData name="Wang, Xing1 /CN/EXT" userId="e7e3a264-d79f-4d05-b0dc-a26ea78b597a" providerId="ADAL" clId="{551703A3-D83B-4335-A4C7-83F2B3864171}" dt="2025-03-10T09:03:35.545" v="1366" actId="1036"/>
          <ac:spMkLst>
            <pc:docMk/>
            <pc:sldMk cId="1191020517" sldId="2147376471"/>
            <ac:spMk id="52" creationId="{89C16E86-5EE5-F3FF-F164-A51426AB5F3D}"/>
          </ac:spMkLst>
        </pc:spChg>
        <pc:spChg chg="add mod">
          <ac:chgData name="Wang, Xing1 /CN/EXT" userId="e7e3a264-d79f-4d05-b0dc-a26ea78b597a" providerId="ADAL" clId="{551703A3-D83B-4335-A4C7-83F2B3864171}" dt="2025-03-10T09:03:35.545" v="1366" actId="1036"/>
          <ac:spMkLst>
            <pc:docMk/>
            <pc:sldMk cId="1191020517" sldId="2147376471"/>
            <ac:spMk id="53" creationId="{B2D1FDBA-3BC9-0518-F35B-6CD6A4682BBF}"/>
          </ac:spMkLst>
        </pc:spChg>
        <pc:spChg chg="add mod">
          <ac:chgData name="Wang, Xing1 /CN/EXT" userId="e7e3a264-d79f-4d05-b0dc-a26ea78b597a" providerId="ADAL" clId="{551703A3-D83B-4335-A4C7-83F2B3864171}" dt="2025-03-10T04:18:15.956" v="740" actId="164"/>
          <ac:spMkLst>
            <pc:docMk/>
            <pc:sldMk cId="1191020517" sldId="2147376471"/>
            <ac:spMk id="54" creationId="{A575F145-718E-4933-770A-83C9AACF666C}"/>
          </ac:spMkLst>
        </pc:spChg>
        <pc:spChg chg="add mod">
          <ac:chgData name="Wang, Xing1 /CN/EXT" userId="e7e3a264-d79f-4d05-b0dc-a26ea78b597a" providerId="ADAL" clId="{551703A3-D83B-4335-A4C7-83F2B3864171}" dt="2025-03-10T04:18:15.956" v="740" actId="164"/>
          <ac:spMkLst>
            <pc:docMk/>
            <pc:sldMk cId="1191020517" sldId="2147376471"/>
            <ac:spMk id="55" creationId="{66B0DCA3-025F-9675-B392-3DE920F1B6C7}"/>
          </ac:spMkLst>
        </pc:spChg>
        <pc:spChg chg="add mod">
          <ac:chgData name="Wang, Xing1 /CN/EXT" userId="e7e3a264-d79f-4d05-b0dc-a26ea78b597a" providerId="ADAL" clId="{551703A3-D83B-4335-A4C7-83F2B3864171}" dt="2025-03-10T09:03:35.545" v="1366" actId="1036"/>
          <ac:spMkLst>
            <pc:docMk/>
            <pc:sldMk cId="1191020517" sldId="2147376471"/>
            <ac:spMk id="56" creationId="{83BF9A09-922B-ECBE-5C5E-B6D7A59183C2}"/>
          </ac:spMkLst>
        </pc:spChg>
        <pc:spChg chg="add mod">
          <ac:chgData name="Wang, Xing1 /CN/EXT" userId="e7e3a264-d79f-4d05-b0dc-a26ea78b597a" providerId="ADAL" clId="{551703A3-D83B-4335-A4C7-83F2B3864171}" dt="2025-03-10T09:03:35.545" v="1366" actId="1036"/>
          <ac:spMkLst>
            <pc:docMk/>
            <pc:sldMk cId="1191020517" sldId="2147376471"/>
            <ac:spMk id="58" creationId="{C9B6AA94-D48D-375C-A2BD-019D41D30300}"/>
          </ac:spMkLst>
        </pc:spChg>
        <pc:spChg chg="add mod">
          <ac:chgData name="Wang, Xing1 /CN/EXT" userId="e7e3a264-d79f-4d05-b0dc-a26ea78b597a" providerId="ADAL" clId="{551703A3-D83B-4335-A4C7-83F2B3864171}" dt="2025-03-10T09:03:35.545" v="1366" actId="1036"/>
          <ac:spMkLst>
            <pc:docMk/>
            <pc:sldMk cId="1191020517" sldId="2147376471"/>
            <ac:spMk id="59" creationId="{985C7847-0051-DB73-C2B1-52142149180D}"/>
          </ac:spMkLst>
        </pc:spChg>
        <pc:grpChg chg="add mod">
          <ac:chgData name="Wang, Xing1 /CN/EXT" userId="e7e3a264-d79f-4d05-b0dc-a26ea78b597a" providerId="ADAL" clId="{551703A3-D83B-4335-A4C7-83F2B3864171}" dt="2025-03-10T04:13:50.974" v="661" actId="164"/>
          <ac:grpSpMkLst>
            <pc:docMk/>
            <pc:sldMk cId="1191020517" sldId="2147376471"/>
            <ac:grpSpMk id="10" creationId="{E8CB8AC3-67FF-8CA9-87C4-1939D2656823}"/>
          </ac:grpSpMkLst>
        </pc:grpChg>
        <pc:grpChg chg="add mod">
          <ac:chgData name="Wang, Xing1 /CN/EXT" userId="e7e3a264-d79f-4d05-b0dc-a26ea78b597a" providerId="ADAL" clId="{551703A3-D83B-4335-A4C7-83F2B3864171}" dt="2025-03-10T04:13:50.974" v="661" actId="164"/>
          <ac:grpSpMkLst>
            <pc:docMk/>
            <pc:sldMk cId="1191020517" sldId="2147376471"/>
            <ac:grpSpMk id="14" creationId="{51899C9E-5C5D-F3B1-1FFE-DE5AE31877AB}"/>
          </ac:grpSpMkLst>
        </pc:grpChg>
        <pc:grpChg chg="add mod">
          <ac:chgData name="Wang, Xing1 /CN/EXT" userId="e7e3a264-d79f-4d05-b0dc-a26ea78b597a" providerId="ADAL" clId="{551703A3-D83B-4335-A4C7-83F2B3864171}" dt="2025-03-10T04:13:50.974" v="661" actId="164"/>
          <ac:grpSpMkLst>
            <pc:docMk/>
            <pc:sldMk cId="1191020517" sldId="2147376471"/>
            <ac:grpSpMk id="20" creationId="{B6A335DD-4AA5-71D8-0CD7-BEA537C1F44F}"/>
          </ac:grpSpMkLst>
        </pc:grpChg>
        <pc:grpChg chg="add del mod">
          <ac:chgData name="Wang, Xing1 /CN/EXT" userId="e7e3a264-d79f-4d05-b0dc-a26ea78b597a" providerId="ADAL" clId="{551703A3-D83B-4335-A4C7-83F2B3864171}" dt="2025-03-10T04:07:22.214" v="607" actId="165"/>
          <ac:grpSpMkLst>
            <pc:docMk/>
            <pc:sldMk cId="1191020517" sldId="2147376471"/>
            <ac:grpSpMk id="29" creationId="{261571D9-7F73-1E29-AE3B-1A4CBBA9CC74}"/>
          </ac:grpSpMkLst>
        </pc:grpChg>
        <pc:grpChg chg="add del mod">
          <ac:chgData name="Wang, Xing1 /CN/EXT" userId="e7e3a264-d79f-4d05-b0dc-a26ea78b597a" providerId="ADAL" clId="{551703A3-D83B-4335-A4C7-83F2B3864171}" dt="2025-03-10T04:07:25.733" v="608" actId="165"/>
          <ac:grpSpMkLst>
            <pc:docMk/>
            <pc:sldMk cId="1191020517" sldId="2147376471"/>
            <ac:grpSpMk id="35" creationId="{B0EFBC49-BEC6-4C95-531A-14C84B29005F}"/>
          </ac:grpSpMkLst>
        </pc:grpChg>
        <pc:grpChg chg="add del mod">
          <ac:chgData name="Wang, Xing1 /CN/EXT" userId="e7e3a264-d79f-4d05-b0dc-a26ea78b597a" providerId="ADAL" clId="{551703A3-D83B-4335-A4C7-83F2B3864171}" dt="2025-03-10T04:07:29.477" v="609" actId="165"/>
          <ac:grpSpMkLst>
            <pc:docMk/>
            <pc:sldMk cId="1191020517" sldId="2147376471"/>
            <ac:grpSpMk id="41" creationId="{78D06EDE-2230-0A5B-7A64-D7D4A9F60585}"/>
          </ac:grpSpMkLst>
        </pc:grpChg>
        <pc:grpChg chg="add mod">
          <ac:chgData name="Wang, Xing1 /CN/EXT" userId="e7e3a264-d79f-4d05-b0dc-a26ea78b597a" providerId="ADAL" clId="{551703A3-D83B-4335-A4C7-83F2B3864171}" dt="2025-03-10T09:03:35.545" v="1366" actId="1036"/>
          <ac:grpSpMkLst>
            <pc:docMk/>
            <pc:sldMk cId="1191020517" sldId="2147376471"/>
            <ac:grpSpMk id="44" creationId="{7678111C-D7C4-9198-2F09-C03849D503D8}"/>
          </ac:grpSpMkLst>
        </pc:grpChg>
        <pc:grpChg chg="add mod">
          <ac:chgData name="Wang, Xing1 /CN/EXT" userId="e7e3a264-d79f-4d05-b0dc-a26ea78b597a" providerId="ADAL" clId="{551703A3-D83B-4335-A4C7-83F2B3864171}" dt="2025-03-10T04:15:16.092" v="673"/>
          <ac:grpSpMkLst>
            <pc:docMk/>
            <pc:sldMk cId="1191020517" sldId="2147376471"/>
            <ac:grpSpMk id="49" creationId="{3A08A096-9530-C074-1BEB-B95DF666B95A}"/>
          </ac:grpSpMkLst>
        </pc:grpChg>
        <pc:grpChg chg="add del mod">
          <ac:chgData name="Wang, Xing1 /CN/EXT" userId="e7e3a264-d79f-4d05-b0dc-a26ea78b597a" providerId="ADAL" clId="{551703A3-D83B-4335-A4C7-83F2B3864171}" dt="2025-03-10T04:19:04.324" v="757" actId="478"/>
          <ac:grpSpMkLst>
            <pc:docMk/>
            <pc:sldMk cId="1191020517" sldId="2147376471"/>
            <ac:grpSpMk id="57" creationId="{D704C38C-020D-C881-F06B-D701D30A46D2}"/>
          </ac:grpSpMkLst>
        </pc:grpChg>
        <pc:graphicFrameChg chg="add del mod modGraphic">
          <ac:chgData name="Wang, Xing1 /CN/EXT" userId="e7e3a264-d79f-4d05-b0dc-a26ea78b597a" providerId="ADAL" clId="{551703A3-D83B-4335-A4C7-83F2B3864171}" dt="2025-03-10T03:52:42.790" v="109" actId="478"/>
          <ac:graphicFrameMkLst>
            <pc:docMk/>
            <pc:sldMk cId="1191020517" sldId="2147376471"/>
            <ac:graphicFrameMk id="4" creationId="{E429FC3B-19CC-FB4B-E68C-07A3D9D92112}"/>
          </ac:graphicFrameMkLst>
        </pc:graphicFrameChg>
        <pc:picChg chg="del">
          <ac:chgData name="Wang, Xing1 /CN/EXT" userId="e7e3a264-d79f-4d05-b0dc-a26ea78b597a" providerId="ADAL" clId="{551703A3-D83B-4335-A4C7-83F2B3864171}" dt="2025-03-10T03:47:01.171" v="3" actId="478"/>
          <ac:picMkLst>
            <pc:docMk/>
            <pc:sldMk cId="1191020517" sldId="2147376471"/>
            <ac:picMk id="5" creationId="{73A6753C-1597-8244-B14B-F875466BFCF5}"/>
          </ac:picMkLst>
        </pc:picChg>
        <pc:cxnChg chg="add mod">
          <ac:chgData name="Wang, Xing1 /CN/EXT" userId="e7e3a264-d79f-4d05-b0dc-a26ea78b597a" providerId="ADAL" clId="{551703A3-D83B-4335-A4C7-83F2B3864171}" dt="2025-03-10T09:03:35.545" v="1366" actId="1036"/>
          <ac:cxnSpMkLst>
            <pc:docMk/>
            <pc:sldMk cId="1191020517" sldId="2147376471"/>
            <ac:cxnSpMk id="4" creationId="{79500EE1-3A8F-EAE5-8C15-FA6DC693A75A}"/>
          </ac:cxnSpMkLst>
        </pc:cxnChg>
        <pc:cxnChg chg="add mod">
          <ac:chgData name="Wang, Xing1 /CN/EXT" userId="e7e3a264-d79f-4d05-b0dc-a26ea78b597a" providerId="ADAL" clId="{551703A3-D83B-4335-A4C7-83F2B3864171}" dt="2025-03-10T09:03:35.545" v="1366" actId="1036"/>
          <ac:cxnSpMkLst>
            <pc:docMk/>
            <pc:sldMk cId="1191020517" sldId="2147376471"/>
            <ac:cxnSpMk id="29" creationId="{6B57363B-6A4D-BDCB-2C82-BFCE24BE1C51}"/>
          </ac:cxnSpMkLst>
        </pc:cxnChg>
        <pc:cxnChg chg="add mod">
          <ac:chgData name="Wang, Xing1 /CN/EXT" userId="e7e3a264-d79f-4d05-b0dc-a26ea78b597a" providerId="ADAL" clId="{551703A3-D83B-4335-A4C7-83F2B3864171}" dt="2025-03-10T09:03:35.545" v="1366" actId="1036"/>
          <ac:cxnSpMkLst>
            <pc:docMk/>
            <pc:sldMk cId="1191020517" sldId="2147376471"/>
            <ac:cxnSpMk id="46" creationId="{17CC9F17-8808-6B8D-DD49-F8D2A726E17A}"/>
          </ac:cxnSpMkLst>
        </pc:cxnChg>
        <pc:cxnChg chg="add mod">
          <ac:chgData name="Wang, Xing1 /CN/EXT" userId="e7e3a264-d79f-4d05-b0dc-a26ea78b597a" providerId="ADAL" clId="{551703A3-D83B-4335-A4C7-83F2B3864171}" dt="2025-03-10T09:03:35.545" v="1366" actId="1036"/>
          <ac:cxnSpMkLst>
            <pc:docMk/>
            <pc:sldMk cId="1191020517" sldId="2147376471"/>
            <ac:cxnSpMk id="47" creationId="{8CA2474A-30BF-4DA4-9E79-D00F6D3A4B53}"/>
          </ac:cxnSpMkLst>
        </pc:cxnChg>
      </pc:sldChg>
      <pc:sldChg chg="addSp delSp modSp add mod modClrScheme chgLayout">
        <pc:chgData name="Wang, Xing1 /CN/EXT" userId="e7e3a264-d79f-4d05-b0dc-a26ea78b597a" providerId="ADAL" clId="{551703A3-D83B-4335-A4C7-83F2B3864171}" dt="2025-03-10T09:42:53.473" v="1487" actId="700"/>
        <pc:sldMkLst>
          <pc:docMk/>
          <pc:sldMk cId="882684263" sldId="2147376472"/>
        </pc:sldMkLst>
        <pc:spChg chg="del">
          <ac:chgData name="Wang, Xing1 /CN/EXT" userId="e7e3a264-d79f-4d05-b0dc-a26ea78b597a" providerId="ADAL" clId="{551703A3-D83B-4335-A4C7-83F2B3864171}" dt="2025-03-10T05:56:51.289" v="785" actId="478"/>
          <ac:spMkLst>
            <pc:docMk/>
            <pc:sldMk cId="882684263" sldId="2147376472"/>
            <ac:spMk id="2" creationId="{D73B230C-1EC0-DB92-63AE-5824227C67CC}"/>
          </ac:spMkLst>
        </pc:spChg>
        <pc:spChg chg="add mod">
          <ac:chgData name="Wang, Xing1 /CN/EXT" userId="e7e3a264-d79f-4d05-b0dc-a26ea78b597a" providerId="ADAL" clId="{551703A3-D83B-4335-A4C7-83F2B3864171}" dt="2025-03-10T05:56:51.634" v="786"/>
          <ac:spMkLst>
            <pc:docMk/>
            <pc:sldMk cId="882684263" sldId="2147376472"/>
            <ac:spMk id="3" creationId="{2A43402A-4091-DBE0-BF01-404AA54E1DD5}"/>
          </ac:spMkLst>
        </pc:spChg>
        <pc:spChg chg="del">
          <ac:chgData name="Wang, Xing1 /CN/EXT" userId="e7e3a264-d79f-4d05-b0dc-a26ea78b597a" providerId="ADAL" clId="{551703A3-D83B-4335-A4C7-83F2B3864171}" dt="2025-03-10T05:56:44.367" v="784" actId="478"/>
          <ac:spMkLst>
            <pc:docMk/>
            <pc:sldMk cId="882684263" sldId="2147376472"/>
            <ac:spMk id="45" creationId="{F209CE40-9702-2FF8-2602-78AB598F5B90}"/>
          </ac:spMkLst>
        </pc:spChg>
        <pc:spChg chg="del">
          <ac:chgData name="Wang, Xing1 /CN/EXT" userId="e7e3a264-d79f-4d05-b0dc-a26ea78b597a" providerId="ADAL" clId="{551703A3-D83B-4335-A4C7-83F2B3864171}" dt="2025-03-10T05:56:44.367" v="784" actId="478"/>
          <ac:spMkLst>
            <pc:docMk/>
            <pc:sldMk cId="882684263" sldId="2147376472"/>
            <ac:spMk id="52" creationId="{89C16E86-5EE5-F3FF-F164-A51426AB5F3D}"/>
          </ac:spMkLst>
        </pc:spChg>
        <pc:spChg chg="del">
          <ac:chgData name="Wang, Xing1 /CN/EXT" userId="e7e3a264-d79f-4d05-b0dc-a26ea78b597a" providerId="ADAL" clId="{551703A3-D83B-4335-A4C7-83F2B3864171}" dt="2025-03-10T05:56:44.367" v="784" actId="478"/>
          <ac:spMkLst>
            <pc:docMk/>
            <pc:sldMk cId="882684263" sldId="2147376472"/>
            <ac:spMk id="53" creationId="{B2D1FDBA-3BC9-0518-F35B-6CD6A4682BBF}"/>
          </ac:spMkLst>
        </pc:spChg>
        <pc:spChg chg="del">
          <ac:chgData name="Wang, Xing1 /CN/EXT" userId="e7e3a264-d79f-4d05-b0dc-a26ea78b597a" providerId="ADAL" clId="{551703A3-D83B-4335-A4C7-83F2B3864171}" dt="2025-03-10T05:56:44.367" v="784" actId="478"/>
          <ac:spMkLst>
            <pc:docMk/>
            <pc:sldMk cId="882684263" sldId="2147376472"/>
            <ac:spMk id="56" creationId="{83BF9A09-922B-ECBE-5C5E-B6D7A59183C2}"/>
          </ac:spMkLst>
        </pc:spChg>
        <pc:spChg chg="del">
          <ac:chgData name="Wang, Xing1 /CN/EXT" userId="e7e3a264-d79f-4d05-b0dc-a26ea78b597a" providerId="ADAL" clId="{551703A3-D83B-4335-A4C7-83F2B3864171}" dt="2025-03-10T05:56:44.367" v="784" actId="478"/>
          <ac:spMkLst>
            <pc:docMk/>
            <pc:sldMk cId="882684263" sldId="2147376472"/>
            <ac:spMk id="58" creationId="{C9B6AA94-D48D-375C-A2BD-019D41D30300}"/>
          </ac:spMkLst>
        </pc:spChg>
        <pc:spChg chg="del">
          <ac:chgData name="Wang, Xing1 /CN/EXT" userId="e7e3a264-d79f-4d05-b0dc-a26ea78b597a" providerId="ADAL" clId="{551703A3-D83B-4335-A4C7-83F2B3864171}" dt="2025-03-10T05:56:44.367" v="784" actId="478"/>
          <ac:spMkLst>
            <pc:docMk/>
            <pc:sldMk cId="882684263" sldId="2147376472"/>
            <ac:spMk id="59" creationId="{985C7847-0051-DB73-C2B1-52142149180D}"/>
          </ac:spMkLst>
        </pc:spChg>
        <pc:grpChg chg="del">
          <ac:chgData name="Wang, Xing1 /CN/EXT" userId="e7e3a264-d79f-4d05-b0dc-a26ea78b597a" providerId="ADAL" clId="{551703A3-D83B-4335-A4C7-83F2B3864171}" dt="2025-03-10T05:56:44.367" v="784" actId="478"/>
          <ac:grpSpMkLst>
            <pc:docMk/>
            <pc:sldMk cId="882684263" sldId="2147376472"/>
            <ac:grpSpMk id="44" creationId="{7678111C-D7C4-9198-2F09-C03849D503D8}"/>
          </ac:grpSpMkLst>
        </pc:grpChg>
        <pc:graphicFrameChg chg="add mod modGraphic">
          <ac:chgData name="Wang, Xing1 /CN/EXT" userId="e7e3a264-d79f-4d05-b0dc-a26ea78b597a" providerId="ADAL" clId="{551703A3-D83B-4335-A4C7-83F2B3864171}" dt="2025-03-10T09:04:57.906" v="1369" actId="1076"/>
          <ac:graphicFrameMkLst>
            <pc:docMk/>
            <pc:sldMk cId="882684263" sldId="2147376472"/>
            <ac:graphicFrameMk id="4" creationId="{228C5499-E791-BBD2-1DAD-03F049017485}"/>
          </ac:graphicFrameMkLst>
        </pc:graphicFrameChg>
      </pc:sldChg>
      <pc:sldChg chg="addSp delSp modSp add mod modClrScheme chgLayout">
        <pc:chgData name="Wang, Xing1 /CN/EXT" userId="e7e3a264-d79f-4d05-b0dc-a26ea78b597a" providerId="ADAL" clId="{551703A3-D83B-4335-A4C7-83F2B3864171}" dt="2025-03-10T09:42:56.404" v="1488" actId="700"/>
        <pc:sldMkLst>
          <pc:docMk/>
          <pc:sldMk cId="3197287482" sldId="2147376473"/>
        </pc:sldMkLst>
        <pc:spChg chg="mod">
          <ac:chgData name="Wang, Xing1 /CN/EXT" userId="e7e3a264-d79f-4d05-b0dc-a26ea78b597a" providerId="ADAL" clId="{551703A3-D83B-4335-A4C7-83F2B3864171}" dt="2025-03-10T07:35:02.746" v="1060" actId="1035"/>
          <ac:spMkLst>
            <pc:docMk/>
            <pc:sldMk cId="3197287482" sldId="2147376473"/>
            <ac:spMk id="3" creationId="{2A43402A-4091-DBE0-BF01-404AA54E1DD5}"/>
          </ac:spMkLst>
        </pc:spChg>
        <pc:spChg chg="add mod">
          <ac:chgData name="Wang, Xing1 /CN/EXT" userId="e7e3a264-d79f-4d05-b0dc-a26ea78b597a" providerId="ADAL" clId="{551703A3-D83B-4335-A4C7-83F2B3864171}" dt="2025-03-10T07:35:06.861" v="1061" actId="1076"/>
          <ac:spMkLst>
            <pc:docMk/>
            <pc:sldMk cId="3197287482" sldId="2147376473"/>
            <ac:spMk id="5" creationId="{C1E13082-3414-0A50-B5AB-82DB046054B2}"/>
          </ac:spMkLst>
        </pc:spChg>
        <pc:spChg chg="add del mod">
          <ac:chgData name="Wang, Xing1 /CN/EXT" userId="e7e3a264-d79f-4d05-b0dc-a26ea78b597a" providerId="ADAL" clId="{551703A3-D83B-4335-A4C7-83F2B3864171}" dt="2025-03-10T07:35:16.521" v="1063" actId="478"/>
          <ac:spMkLst>
            <pc:docMk/>
            <pc:sldMk cId="3197287482" sldId="2147376473"/>
            <ac:spMk id="6" creationId="{36A1F5D1-F47F-F706-2617-686D5F0C9B4F}"/>
          </ac:spMkLst>
        </pc:spChg>
        <pc:spChg chg="add mod">
          <ac:chgData name="Wang, Xing1 /CN/EXT" userId="e7e3a264-d79f-4d05-b0dc-a26ea78b597a" providerId="ADAL" clId="{551703A3-D83B-4335-A4C7-83F2B3864171}" dt="2025-03-10T07:56:11.077" v="1129" actId="20577"/>
          <ac:spMkLst>
            <pc:docMk/>
            <pc:sldMk cId="3197287482" sldId="2147376473"/>
            <ac:spMk id="7" creationId="{854E5F17-23C0-4CCA-6232-676834DF0C41}"/>
          </ac:spMkLst>
        </pc:spChg>
        <pc:graphicFrameChg chg="del">
          <ac:chgData name="Wang, Xing1 /CN/EXT" userId="e7e3a264-d79f-4d05-b0dc-a26ea78b597a" providerId="ADAL" clId="{551703A3-D83B-4335-A4C7-83F2B3864171}" dt="2025-03-10T07:32:15.955" v="990" actId="478"/>
          <ac:graphicFrameMkLst>
            <pc:docMk/>
            <pc:sldMk cId="3197287482" sldId="2147376473"/>
            <ac:graphicFrameMk id="4" creationId="{228C5499-E791-BBD2-1DAD-03F049017485}"/>
          </ac:graphicFrameMkLst>
        </pc:graphicFrameChg>
        <pc:picChg chg="add mod">
          <ac:chgData name="Wang, Xing1 /CN/EXT" userId="e7e3a264-d79f-4d05-b0dc-a26ea78b597a" providerId="ADAL" clId="{551703A3-D83B-4335-A4C7-83F2B3864171}" dt="2025-03-10T07:35:40.047" v="1065" actId="1076"/>
          <ac:picMkLst>
            <pc:docMk/>
            <pc:sldMk cId="3197287482" sldId="2147376473"/>
            <ac:picMk id="8" creationId="{598AFE3F-DB75-6A22-56A6-60CCBA2980DD}"/>
          </ac:picMkLst>
        </pc:picChg>
        <pc:picChg chg="add mod">
          <ac:chgData name="Wang, Xing1 /CN/EXT" userId="e7e3a264-d79f-4d05-b0dc-a26ea78b597a" providerId="ADAL" clId="{551703A3-D83B-4335-A4C7-83F2B3864171}" dt="2025-03-10T07:35:42.620" v="1066" actId="1076"/>
          <ac:picMkLst>
            <pc:docMk/>
            <pc:sldMk cId="3197287482" sldId="2147376473"/>
            <ac:picMk id="10" creationId="{E215A966-20B1-A3BB-5D03-998F2E0D225F}"/>
          </ac:picMkLst>
        </pc:picChg>
      </pc:sldChg>
      <pc:sldChg chg="addSp delSp modSp add mod modClrScheme chgLayout">
        <pc:chgData name="Wang, Xing1 /CN/EXT" userId="e7e3a264-d79f-4d05-b0dc-a26ea78b597a" providerId="ADAL" clId="{551703A3-D83B-4335-A4C7-83F2B3864171}" dt="2025-03-10T09:42:10.854" v="1476" actId="700"/>
        <pc:sldMkLst>
          <pc:docMk/>
          <pc:sldMk cId="18501072" sldId="2147376474"/>
        </pc:sldMkLst>
        <pc:spChg chg="add mod">
          <ac:chgData name="Wang, Xing1 /CN/EXT" userId="e7e3a264-d79f-4d05-b0dc-a26ea78b597a" providerId="ADAL" clId="{551703A3-D83B-4335-A4C7-83F2B3864171}" dt="2025-03-10T08:44:09.442" v="1205" actId="20577"/>
          <ac:spMkLst>
            <pc:docMk/>
            <pc:sldMk cId="18501072" sldId="2147376474"/>
            <ac:spMk id="2" creationId="{63B9DF9C-3FB2-CF87-D4D4-DB5A6957508C}"/>
          </ac:spMkLst>
        </pc:spChg>
        <pc:spChg chg="add mod">
          <ac:chgData name="Wang, Xing1 /CN/EXT" userId="e7e3a264-d79f-4d05-b0dc-a26ea78b597a" providerId="ADAL" clId="{551703A3-D83B-4335-A4C7-83F2B3864171}" dt="2025-03-10T08:44:37.890" v="1212" actId="1076"/>
          <ac:spMkLst>
            <pc:docMk/>
            <pc:sldMk cId="18501072" sldId="2147376474"/>
            <ac:spMk id="5" creationId="{EF1596A8-E99C-E2FD-A79F-C958105AEA63}"/>
          </ac:spMkLst>
        </pc:spChg>
        <pc:spChg chg="mod">
          <ac:chgData name="Wang, Xing1 /CN/EXT" userId="e7e3a264-d79f-4d05-b0dc-a26ea78b597a" providerId="ADAL" clId="{551703A3-D83B-4335-A4C7-83F2B3864171}" dt="2025-03-10T08:44:03.383" v="1203" actId="1076"/>
          <ac:spMkLst>
            <pc:docMk/>
            <pc:sldMk cId="18501072" sldId="2147376474"/>
            <ac:spMk id="6" creationId="{71D0F878-8C72-1656-D669-24AF131F5EE3}"/>
          </ac:spMkLst>
        </pc:spChg>
        <pc:spChg chg="del">
          <ac:chgData name="Wang, Xing1 /CN/EXT" userId="e7e3a264-d79f-4d05-b0dc-a26ea78b597a" providerId="ADAL" clId="{551703A3-D83B-4335-A4C7-83F2B3864171}" dt="2025-03-10T08:37:40.181" v="1192" actId="478"/>
          <ac:spMkLst>
            <pc:docMk/>
            <pc:sldMk cId="18501072" sldId="2147376474"/>
            <ac:spMk id="8" creationId="{8EEE0EB2-2451-3B68-5DC0-1023DED71649}"/>
          </ac:spMkLst>
        </pc:spChg>
        <pc:picChg chg="add mod">
          <ac:chgData name="Wang, Xing1 /CN/EXT" userId="e7e3a264-d79f-4d05-b0dc-a26ea78b597a" providerId="ADAL" clId="{551703A3-D83B-4335-A4C7-83F2B3864171}" dt="2025-03-10T08:44:33.224" v="1211" actId="14100"/>
          <ac:picMkLst>
            <pc:docMk/>
            <pc:sldMk cId="18501072" sldId="2147376474"/>
            <ac:picMk id="4" creationId="{6C557CDE-F71B-F731-5804-49F558211308}"/>
          </ac:picMkLst>
        </pc:picChg>
        <pc:picChg chg="del">
          <ac:chgData name="Wang, Xing1 /CN/EXT" userId="e7e3a264-d79f-4d05-b0dc-a26ea78b597a" providerId="ADAL" clId="{551703A3-D83B-4335-A4C7-83F2B3864171}" dt="2025-03-10T08:37:37.995" v="1190" actId="478"/>
          <ac:picMkLst>
            <pc:docMk/>
            <pc:sldMk cId="18501072" sldId="2147376474"/>
            <ac:picMk id="7" creationId="{44A441F0-1A9C-5A7B-3403-E92541CB12D4}"/>
          </ac:picMkLst>
        </pc:picChg>
        <pc:picChg chg="add mod">
          <ac:chgData name="Wang, Xing1 /CN/EXT" userId="e7e3a264-d79f-4d05-b0dc-a26ea78b597a" providerId="ADAL" clId="{551703A3-D83B-4335-A4C7-83F2B3864171}" dt="2025-03-10T08:44:43.591" v="1213" actId="1076"/>
          <ac:picMkLst>
            <pc:docMk/>
            <pc:sldMk cId="18501072" sldId="2147376474"/>
            <ac:picMk id="10" creationId="{87621FF0-F16B-CA6A-2F4C-84845A4AB18F}"/>
          </ac:picMkLst>
        </pc:picChg>
        <pc:picChg chg="del">
          <ac:chgData name="Wang, Xing1 /CN/EXT" userId="e7e3a264-d79f-4d05-b0dc-a26ea78b597a" providerId="ADAL" clId="{551703A3-D83B-4335-A4C7-83F2B3864171}" dt="2025-03-10T08:37:38.637" v="1191" actId="478"/>
          <ac:picMkLst>
            <pc:docMk/>
            <pc:sldMk cId="18501072" sldId="2147376474"/>
            <ac:picMk id="11" creationId="{079CFEEE-BC59-5A94-8A03-9AD51732D147}"/>
          </ac:picMkLst>
        </pc:picChg>
      </pc:sldChg>
      <pc:sldChg chg="delSp new del mod">
        <pc:chgData name="Wang, Xing1 /CN/EXT" userId="e7e3a264-d79f-4d05-b0dc-a26ea78b597a" providerId="ADAL" clId="{551703A3-D83B-4335-A4C7-83F2B3864171}" dt="2025-03-10T09:23:09.553" v="1439" actId="47"/>
        <pc:sldMkLst>
          <pc:docMk/>
          <pc:sldMk cId="2631491500" sldId="2147376475"/>
        </pc:sldMkLst>
        <pc:spChg chg="del">
          <ac:chgData name="Wang, Xing1 /CN/EXT" userId="e7e3a264-d79f-4d05-b0dc-a26ea78b597a" providerId="ADAL" clId="{551703A3-D83B-4335-A4C7-83F2B3864171}" dt="2025-03-10T09:23:07.568" v="1438" actId="478"/>
          <ac:spMkLst>
            <pc:docMk/>
            <pc:sldMk cId="2631491500" sldId="2147376475"/>
            <ac:spMk id="10" creationId="{6413F6C6-E1F0-F0AB-12CD-F0F766C4C71F}"/>
          </ac:spMkLst>
        </pc:spChg>
        <pc:spChg chg="del">
          <ac:chgData name="Wang, Xing1 /CN/EXT" userId="e7e3a264-d79f-4d05-b0dc-a26ea78b597a" providerId="ADAL" clId="{551703A3-D83B-4335-A4C7-83F2B3864171}" dt="2025-03-10T09:23:06.704" v="1437" actId="478"/>
          <ac:spMkLst>
            <pc:docMk/>
            <pc:sldMk cId="2631491500" sldId="2147376475"/>
            <ac:spMk id="11" creationId="{6C720919-DB20-02EC-CA21-95080D2E920E}"/>
          </ac:spMkLst>
        </pc:spChg>
      </pc:sldChg>
      <pc:sldMasterChg chg="del">
        <pc:chgData name="Wang, Xing1 /CN/EXT" userId="e7e3a264-d79f-4d05-b0dc-a26ea78b597a" providerId="ADAL" clId="{551703A3-D83B-4335-A4C7-83F2B3864171}" dt="2025-03-10T09:33:43.256" v="1440" actId="2696"/>
        <pc:sldMasterMkLst>
          <pc:docMk/>
          <pc:sldMasterMk cId="2629600916" sldId="2147483660"/>
        </pc:sldMasterMkLst>
      </pc:sldMasterChg>
      <pc:sldMasterChg chg="del">
        <pc:chgData name="Wang, Xing1 /CN/EXT" userId="e7e3a264-d79f-4d05-b0dc-a26ea78b597a" providerId="ADAL" clId="{551703A3-D83B-4335-A4C7-83F2B3864171}" dt="2025-03-10T09:33:44.372" v="1441" actId="2696"/>
        <pc:sldMasterMkLst>
          <pc:docMk/>
          <pc:sldMasterMk cId="704980839" sldId="2147483694"/>
        </pc:sldMasterMkLst>
      </pc:sldMasterChg>
      <pc:sldMasterChg chg="modSp mod modSldLayout">
        <pc:chgData name="Wang, Xing1 /CN/EXT" userId="e7e3a264-d79f-4d05-b0dc-a26ea78b597a" providerId="ADAL" clId="{551703A3-D83B-4335-A4C7-83F2B3864171}" dt="2025-03-10T09:47:00.652" v="1508" actId="6013"/>
        <pc:sldMasterMkLst>
          <pc:docMk/>
          <pc:sldMasterMk cId="883253381" sldId="2147483733"/>
        </pc:sldMasterMkLst>
        <pc:spChg chg="mod">
          <ac:chgData name="Wang, Xing1 /CN/EXT" userId="e7e3a264-d79f-4d05-b0dc-a26ea78b597a" providerId="ADAL" clId="{551703A3-D83B-4335-A4C7-83F2B3864171}" dt="2025-03-10T09:11:03.986" v="1430" actId="20577"/>
          <ac:spMkLst>
            <pc:docMk/>
            <pc:sldMasterMk cId="883253381" sldId="2147483733"/>
            <ac:spMk id="6" creationId="{00000000-0000-0000-0000-000000000000}"/>
          </ac:spMkLst>
        </pc:spChg>
        <pc:sldLayoutChg chg="modSp mod">
          <pc:chgData name="Wang, Xing1 /CN/EXT" userId="e7e3a264-d79f-4d05-b0dc-a26ea78b597a" providerId="ADAL" clId="{551703A3-D83B-4335-A4C7-83F2B3864171}" dt="2025-03-10T09:11:47.272" v="1434" actId="20577"/>
          <pc:sldLayoutMkLst>
            <pc:docMk/>
            <pc:sldMasterMk cId="883253381" sldId="2147483733"/>
            <pc:sldLayoutMk cId="3271804631" sldId="2147483750"/>
          </pc:sldLayoutMkLst>
          <pc:spChg chg="mod">
            <ac:chgData name="Wang, Xing1 /CN/EXT" userId="e7e3a264-d79f-4d05-b0dc-a26ea78b597a" providerId="ADAL" clId="{551703A3-D83B-4335-A4C7-83F2B3864171}" dt="2025-03-10T09:11:47.272" v="1434" actId="20577"/>
            <ac:spMkLst>
              <pc:docMk/>
              <pc:sldMasterMk cId="883253381" sldId="2147483733"/>
              <pc:sldLayoutMk cId="3271804631" sldId="2147483750"/>
              <ac:spMk id="11" creationId="{323D7EBE-BC7D-4AC5-AD6B-FCD5D270E1C6}"/>
            </ac:spMkLst>
          </pc:spChg>
        </pc:sldLayoutChg>
        <pc:sldLayoutChg chg="delSp modSp mod">
          <pc:chgData name="Wang, Xing1 /CN/EXT" userId="e7e3a264-d79f-4d05-b0dc-a26ea78b597a" providerId="ADAL" clId="{551703A3-D83B-4335-A4C7-83F2B3864171}" dt="2025-03-10T09:46:51.630" v="1507" actId="20577"/>
          <pc:sldLayoutMkLst>
            <pc:docMk/>
            <pc:sldMasterMk cId="883253381" sldId="2147483733"/>
            <pc:sldLayoutMk cId="664664590" sldId="2147483794"/>
          </pc:sldLayoutMkLst>
          <pc:spChg chg="del">
            <ac:chgData name="Wang, Xing1 /CN/EXT" userId="e7e3a264-d79f-4d05-b0dc-a26ea78b597a" providerId="ADAL" clId="{551703A3-D83B-4335-A4C7-83F2B3864171}" dt="2025-03-10T09:40:29.203" v="1457" actId="478"/>
            <ac:spMkLst>
              <pc:docMk/>
              <pc:sldMasterMk cId="883253381" sldId="2147483733"/>
              <pc:sldLayoutMk cId="664664590" sldId="2147483794"/>
              <ac:spMk id="2" creationId="{ADD9416A-B095-C388-466B-F9B8A85C25F7}"/>
            </ac:spMkLst>
          </pc:spChg>
          <pc:spChg chg="mod">
            <ac:chgData name="Wang, Xing1 /CN/EXT" userId="e7e3a264-d79f-4d05-b0dc-a26ea78b597a" providerId="ADAL" clId="{551703A3-D83B-4335-A4C7-83F2B3864171}" dt="2025-03-10T09:46:51.630" v="1507" actId="20577"/>
            <ac:spMkLst>
              <pc:docMk/>
              <pc:sldMasterMk cId="883253381" sldId="2147483733"/>
              <pc:sldLayoutMk cId="664664590" sldId="2147483794"/>
              <ac:spMk id="5" creationId="{89659C3B-1C96-7E19-100A-508130A3E1BF}"/>
            </ac:spMkLst>
          </pc:spChg>
        </pc:sldLayoutChg>
      </pc:sldMasterChg>
      <pc:sldMasterChg chg="new mod addSldLayout">
        <pc:chgData name="Wang, Xing1 /CN/EXT" userId="e7e3a264-d79f-4d05-b0dc-a26ea78b597a" providerId="ADAL" clId="{551703A3-D83B-4335-A4C7-83F2B3864171}" dt="2025-03-10T09:15:53.355" v="1435" actId="6938"/>
        <pc:sldMasterMkLst>
          <pc:docMk/>
          <pc:sldMasterMk cId="3895154308" sldId="2147483778"/>
        </pc:sldMasterMkLst>
        <pc:sldLayoutChg chg="new replId">
          <pc:chgData name="Wang, Xing1 /CN/EXT" userId="e7e3a264-d79f-4d05-b0dc-a26ea78b597a" providerId="ADAL" clId="{551703A3-D83B-4335-A4C7-83F2B3864171}" dt="2025-03-10T09:15:53.355" v="1435" actId="6938"/>
          <pc:sldLayoutMkLst>
            <pc:docMk/>
            <pc:sldMasterMk cId="3895154308" sldId="2147483778"/>
            <pc:sldLayoutMk cId="70106409" sldId="2147483779"/>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2085331559" sldId="2147483780"/>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2652750096" sldId="2147483781"/>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1781254664" sldId="2147483782"/>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2716903764" sldId="2147483783"/>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1686108661" sldId="2147483784"/>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2191666679" sldId="2147483785"/>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3790719054" sldId="2147483786"/>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1238953154" sldId="2147483787"/>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516376248" sldId="2147483788"/>
          </pc:sldLayoutMkLst>
        </pc:sldLayoutChg>
        <pc:sldLayoutChg chg="new replId">
          <pc:chgData name="Wang, Xing1 /CN/EXT" userId="e7e3a264-d79f-4d05-b0dc-a26ea78b597a" providerId="ADAL" clId="{551703A3-D83B-4335-A4C7-83F2B3864171}" dt="2025-03-10T09:15:53.355" v="1435" actId="6938"/>
          <pc:sldLayoutMkLst>
            <pc:docMk/>
            <pc:sldMasterMk cId="3895154308" sldId="2147483778"/>
            <pc:sldLayoutMk cId="4125331481" sldId="2147483789"/>
          </pc:sldLayoutMkLst>
        </pc:sldLayoutChg>
      </pc:sldMasterChg>
      <pc:sldMasterChg chg="add del mod addSldLayout delSldLayout modSldLayout">
        <pc:chgData name="Wang, Xing1 /CN/EXT" userId="e7e3a264-d79f-4d05-b0dc-a26ea78b597a" providerId="ADAL" clId="{551703A3-D83B-4335-A4C7-83F2B3864171}" dt="2025-03-10T09:40:18.715" v="1456" actId="2890"/>
        <pc:sldMasterMkLst>
          <pc:docMk/>
          <pc:sldMasterMk cId="545810179" sldId="2147483794"/>
        </pc:sldMasterMkLst>
        <pc:sldLayoutChg chg="add del mod replId">
          <pc:chgData name="Wang, Xing1 /CN/EXT" userId="e7e3a264-d79f-4d05-b0dc-a26ea78b597a" providerId="ADAL" clId="{551703A3-D83B-4335-A4C7-83F2B3864171}" dt="2025-03-10T09:40:18.715" v="1456" actId="2890"/>
          <pc:sldLayoutMkLst>
            <pc:docMk/>
            <pc:sldMasterMk cId="545810179" sldId="2147483794"/>
            <pc:sldLayoutMk cId="2688637914" sldId="2147483795"/>
          </pc:sldLayoutMkLst>
        </pc:sldLayoutChg>
        <pc:sldLayoutChg chg="add del mod replId">
          <pc:chgData name="Wang, Xing1 /CN/EXT" userId="e7e3a264-d79f-4d05-b0dc-a26ea78b597a" providerId="ADAL" clId="{551703A3-D83B-4335-A4C7-83F2B3864171}" dt="2025-03-10T09:40:18.715" v="1456" actId="2890"/>
          <pc:sldLayoutMkLst>
            <pc:docMk/>
            <pc:sldMasterMk cId="545810179" sldId="2147483794"/>
            <pc:sldLayoutMk cId="3112751730" sldId="2147483796"/>
          </pc:sldLayoutMkLst>
        </pc:sldLayoutChg>
        <pc:sldLayoutChg chg="add del mod replId">
          <pc:chgData name="Wang, Xing1 /CN/EXT" userId="e7e3a264-d79f-4d05-b0dc-a26ea78b597a" providerId="ADAL" clId="{551703A3-D83B-4335-A4C7-83F2B3864171}" dt="2025-03-10T09:40:18.715" v="1456" actId="2890"/>
          <pc:sldLayoutMkLst>
            <pc:docMk/>
            <pc:sldMasterMk cId="545810179" sldId="2147483794"/>
            <pc:sldLayoutMk cId="1275117299" sldId="2147483797"/>
          </pc:sldLayoutMkLst>
        </pc:sldLayoutChg>
        <pc:sldLayoutChg chg="add del mod replId">
          <pc:chgData name="Wang, Xing1 /CN/EXT" userId="e7e3a264-d79f-4d05-b0dc-a26ea78b597a" providerId="ADAL" clId="{551703A3-D83B-4335-A4C7-83F2B3864171}" dt="2025-03-10T09:40:18.715" v="1456" actId="2890"/>
          <pc:sldLayoutMkLst>
            <pc:docMk/>
            <pc:sldMasterMk cId="545810179" sldId="2147483794"/>
            <pc:sldLayoutMk cId="1830546754" sldId="2147483798"/>
          </pc:sldLayoutMkLst>
        </pc:sldLayoutChg>
      </pc:sldMasterChg>
      <pc:sldMasterChg chg="new del mod addSldLayout delSldLayout modSldLayout">
        <pc:chgData name="Wang, Xing1 /CN/EXT" userId="e7e3a264-d79f-4d05-b0dc-a26ea78b597a" providerId="ADAL" clId="{551703A3-D83B-4335-A4C7-83F2B3864171}" dt="2025-03-10T09:38:22.218" v="1448" actId="6013"/>
        <pc:sldMasterMkLst>
          <pc:docMk/>
          <pc:sldMasterMk cId="3087330510" sldId="2147483794"/>
        </pc:sldMasterMkLst>
        <pc:sldLayoutChg chg="modTransition">
          <pc:chgData name="Wang, Xing1 /CN/EXT" userId="e7e3a264-d79f-4d05-b0dc-a26ea78b597a" providerId="ADAL" clId="{551703A3-D83B-4335-A4C7-83F2B3864171}" dt="2025-03-10T09:37:57.573" v="1447"/>
          <pc:sldLayoutMkLst>
            <pc:docMk/>
            <pc:sldMasterMk cId="883253381" sldId="2147483733"/>
            <pc:sldLayoutMk cId="231862952" sldId="2147483777"/>
          </pc:sldLayoutMkLst>
        </pc:sldLayoutChg>
        <pc:sldLayoutChg chg="new del replId">
          <pc:chgData name="Wang, Xing1 /CN/EXT" userId="e7e3a264-d79f-4d05-b0dc-a26ea78b597a" providerId="ADAL" clId="{551703A3-D83B-4335-A4C7-83F2B3864171}" dt="2025-03-10T09:38:22.218" v="1448" actId="6013"/>
          <pc:sldLayoutMkLst>
            <pc:docMk/>
            <pc:sldMasterMk cId="3087330510" sldId="2147483794"/>
            <pc:sldLayoutMk cId="3700757546" sldId="2147483795"/>
          </pc:sldLayoutMkLst>
        </pc:sldLayoutChg>
        <pc:sldLayoutChg chg="new del replId">
          <pc:chgData name="Wang, Xing1 /CN/EXT" userId="e7e3a264-d79f-4d05-b0dc-a26ea78b597a" providerId="ADAL" clId="{551703A3-D83B-4335-A4C7-83F2B3864171}" dt="2025-03-10T09:38:22.218" v="1448" actId="6013"/>
          <pc:sldLayoutMkLst>
            <pc:docMk/>
            <pc:sldMasterMk cId="3087330510" sldId="2147483794"/>
            <pc:sldLayoutMk cId="3677247097" sldId="2147483796"/>
          </pc:sldLayoutMkLst>
        </pc:sldLayoutChg>
        <pc:sldLayoutChg chg="new del replId">
          <pc:chgData name="Wang, Xing1 /CN/EXT" userId="e7e3a264-d79f-4d05-b0dc-a26ea78b597a" providerId="ADAL" clId="{551703A3-D83B-4335-A4C7-83F2B3864171}" dt="2025-03-10T09:38:22.218" v="1448" actId="6013"/>
          <pc:sldLayoutMkLst>
            <pc:docMk/>
            <pc:sldMasterMk cId="3087330510" sldId="2147483794"/>
            <pc:sldLayoutMk cId="2769874806" sldId="2147483797"/>
          </pc:sldLayoutMkLst>
        </pc:sldLayoutChg>
        <pc:sldLayoutChg chg="new del replId">
          <pc:chgData name="Wang, Xing1 /CN/EXT" userId="e7e3a264-d79f-4d05-b0dc-a26ea78b597a" providerId="ADAL" clId="{551703A3-D83B-4335-A4C7-83F2B3864171}" dt="2025-03-10T09:38:22.218" v="1448" actId="6013"/>
          <pc:sldLayoutMkLst>
            <pc:docMk/>
            <pc:sldMasterMk cId="3087330510" sldId="2147483794"/>
            <pc:sldLayoutMk cId="603840933" sldId="2147483798"/>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926070714" sldId="2147483799"/>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72127455" sldId="2147483800"/>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2357062886" sldId="2147483801"/>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3599829783" sldId="2147483802"/>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1114137190" sldId="2147483803"/>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806409797" sldId="2147483804"/>
          </pc:sldLayoutMkLst>
        </pc:sldLayoutChg>
        <pc:sldLayoutChg chg="new replId">
          <pc:chgData name="Wang, Xing1 /CN/EXT" userId="e7e3a264-d79f-4d05-b0dc-a26ea78b597a" providerId="ADAL" clId="{551703A3-D83B-4335-A4C7-83F2B3864171}" dt="2025-03-10T09:37:43.979" v="1445" actId="6938"/>
          <pc:sldLayoutMkLst>
            <pc:docMk/>
            <pc:sldMasterMk cId="3087330510" sldId="2147483794"/>
            <pc:sldLayoutMk cId="3714051545" sldId="2147483805"/>
          </pc:sldLayoutMkLst>
        </pc:sldLayoutChg>
      </pc:sldMasterChg>
    </pc:docChg>
  </pc:docChgLst>
  <pc:docChgLst>
    <pc:chgData name="Wang, Xing1 /CN/EXT" userId="e7e3a264-d79f-4d05-b0dc-a26ea78b597a" providerId="ADAL" clId="{21917B28-2BBF-4E9D-8E82-43B605E6C797}"/>
    <pc:docChg chg="undo custSel addSld delSld modSld sldOrd">
      <pc:chgData name="Wang, Xing1 /CN/EXT" userId="e7e3a264-d79f-4d05-b0dc-a26ea78b597a" providerId="ADAL" clId="{21917B28-2BBF-4E9D-8E82-43B605E6C797}" dt="2025-03-20T00:50:35.585" v="377" actId="47"/>
      <pc:docMkLst>
        <pc:docMk/>
      </pc:docMkLst>
      <pc:sldChg chg="del">
        <pc:chgData name="Wang, Xing1 /CN/EXT" userId="e7e3a264-d79f-4d05-b0dc-a26ea78b597a" providerId="ADAL" clId="{21917B28-2BBF-4E9D-8E82-43B605E6C797}" dt="2025-03-20T00:50:35.585" v="377" actId="47"/>
        <pc:sldMkLst>
          <pc:docMk/>
          <pc:sldMk cId="3618462458" sldId="2147376360"/>
        </pc:sldMkLst>
      </pc:sldChg>
      <pc:sldChg chg="addSp delSp modSp mod">
        <pc:chgData name="Wang, Xing1 /CN/EXT" userId="e7e3a264-d79f-4d05-b0dc-a26ea78b597a" providerId="ADAL" clId="{21917B28-2BBF-4E9D-8E82-43B605E6C797}" dt="2025-03-19T08:18:21.466" v="330" actId="20577"/>
        <pc:sldMkLst>
          <pc:docMk/>
          <pc:sldMk cId="144580504" sldId="2147376392"/>
        </pc:sldMkLst>
        <pc:spChg chg="mod">
          <ac:chgData name="Wang, Xing1 /CN/EXT" userId="e7e3a264-d79f-4d05-b0dc-a26ea78b597a" providerId="ADAL" clId="{21917B28-2BBF-4E9D-8E82-43B605E6C797}" dt="2025-03-19T08:18:21.466" v="330" actId="20577"/>
          <ac:spMkLst>
            <pc:docMk/>
            <pc:sldMk cId="144580504" sldId="2147376392"/>
            <ac:spMk id="2" creationId="{D73B230C-1EC0-DB92-63AE-5824227C67CC}"/>
          </ac:spMkLst>
        </pc:spChg>
        <pc:picChg chg="del">
          <ac:chgData name="Wang, Xing1 /CN/EXT" userId="e7e3a264-d79f-4d05-b0dc-a26ea78b597a" providerId="ADAL" clId="{21917B28-2BBF-4E9D-8E82-43B605E6C797}" dt="2025-03-19T07:33:56.595" v="248" actId="478"/>
          <ac:picMkLst>
            <pc:docMk/>
            <pc:sldMk cId="144580504" sldId="2147376392"/>
            <ac:picMk id="4" creationId="{0B0462B4-A95E-9FB0-E9A0-9FF43589D330}"/>
          </ac:picMkLst>
        </pc:picChg>
        <pc:picChg chg="add del mod">
          <ac:chgData name="Wang, Xing1 /CN/EXT" userId="e7e3a264-d79f-4d05-b0dc-a26ea78b597a" providerId="ADAL" clId="{21917B28-2BBF-4E9D-8E82-43B605E6C797}" dt="2025-03-19T08:16:56.881" v="313" actId="478"/>
          <ac:picMkLst>
            <pc:docMk/>
            <pc:sldMk cId="144580504" sldId="2147376392"/>
            <ac:picMk id="5" creationId="{569436C3-E518-E413-BFD9-F4E800DE39FB}"/>
          </ac:picMkLst>
        </pc:picChg>
        <pc:picChg chg="add del mod">
          <ac:chgData name="Wang, Xing1 /CN/EXT" userId="e7e3a264-d79f-4d05-b0dc-a26ea78b597a" providerId="ADAL" clId="{21917B28-2BBF-4E9D-8E82-43B605E6C797}" dt="2025-03-19T07:35:50.803" v="253" actId="478"/>
          <ac:picMkLst>
            <pc:docMk/>
            <pc:sldMk cId="144580504" sldId="2147376392"/>
            <ac:picMk id="6" creationId="{1F1EA48E-0281-A0EF-3BFC-81E407634509}"/>
          </ac:picMkLst>
        </pc:picChg>
        <pc:picChg chg="add mod">
          <ac:chgData name="Wang, Xing1 /CN/EXT" userId="e7e3a264-d79f-4d05-b0dc-a26ea78b597a" providerId="ADAL" clId="{21917B28-2BBF-4E9D-8E82-43B605E6C797}" dt="2025-03-19T08:17:12.848" v="317" actId="1076"/>
          <ac:picMkLst>
            <pc:docMk/>
            <pc:sldMk cId="144580504" sldId="2147376392"/>
            <ac:picMk id="7" creationId="{DCAD3492-3C2A-FE58-436B-FA829A148546}"/>
          </ac:picMkLst>
        </pc:picChg>
        <pc:picChg chg="add del mod">
          <ac:chgData name="Wang, Xing1 /CN/EXT" userId="e7e3a264-d79f-4d05-b0dc-a26ea78b597a" providerId="ADAL" clId="{21917B28-2BBF-4E9D-8E82-43B605E6C797}" dt="2025-03-19T08:16:48.729" v="310" actId="478"/>
          <ac:picMkLst>
            <pc:docMk/>
            <pc:sldMk cId="144580504" sldId="2147376392"/>
            <ac:picMk id="8" creationId="{96328C45-859B-5FD6-3689-A17B851D5812}"/>
          </ac:picMkLst>
        </pc:picChg>
      </pc:sldChg>
      <pc:sldChg chg="addSp delSp modSp mod modAnim">
        <pc:chgData name="Wang, Xing1 /CN/EXT" userId="e7e3a264-d79f-4d05-b0dc-a26ea78b597a" providerId="ADAL" clId="{21917B28-2BBF-4E9D-8E82-43B605E6C797}" dt="2025-03-18T06:35:12.715" v="42"/>
        <pc:sldMkLst>
          <pc:docMk/>
          <pc:sldMk cId="4246985430" sldId="2147376433"/>
        </pc:sldMkLst>
        <pc:spChg chg="add mod">
          <ac:chgData name="Wang, Xing1 /CN/EXT" userId="e7e3a264-d79f-4d05-b0dc-a26ea78b597a" providerId="ADAL" clId="{21917B28-2BBF-4E9D-8E82-43B605E6C797}" dt="2025-03-18T06:34:21.046" v="34" actId="1076"/>
          <ac:spMkLst>
            <pc:docMk/>
            <pc:sldMk cId="4246985430" sldId="2147376433"/>
            <ac:spMk id="7" creationId="{979F945A-A808-F8FE-8FDF-5845F4D209DF}"/>
          </ac:spMkLst>
        </pc:spChg>
        <pc:spChg chg="add mod">
          <ac:chgData name="Wang, Xing1 /CN/EXT" userId="e7e3a264-d79f-4d05-b0dc-a26ea78b597a" providerId="ADAL" clId="{21917B28-2BBF-4E9D-8E82-43B605E6C797}" dt="2025-03-18T06:34:21.046" v="34" actId="1076"/>
          <ac:spMkLst>
            <pc:docMk/>
            <pc:sldMk cId="4246985430" sldId="2147376433"/>
            <ac:spMk id="8" creationId="{1E209A39-D191-4265-A197-3D5C5FD04200}"/>
          </ac:spMkLst>
        </pc:spChg>
        <pc:picChg chg="mod">
          <ac:chgData name="Wang, Xing1 /CN/EXT" userId="e7e3a264-d79f-4d05-b0dc-a26ea78b597a" providerId="ADAL" clId="{21917B28-2BBF-4E9D-8E82-43B605E6C797}" dt="2025-03-18T06:34:21.046" v="34" actId="1076"/>
          <ac:picMkLst>
            <pc:docMk/>
            <pc:sldMk cId="4246985430" sldId="2147376433"/>
            <ac:picMk id="5" creationId="{0E87D36A-BC60-B206-3445-E47DCE49B5CB}"/>
          </ac:picMkLst>
        </pc:picChg>
        <pc:cxnChg chg="add del">
          <ac:chgData name="Wang, Xing1 /CN/EXT" userId="e7e3a264-d79f-4d05-b0dc-a26ea78b597a" providerId="ADAL" clId="{21917B28-2BBF-4E9D-8E82-43B605E6C797}" dt="2025-03-18T06:32:53.095" v="2" actId="478"/>
          <ac:cxnSpMkLst>
            <pc:docMk/>
            <pc:sldMk cId="4246985430" sldId="2147376433"/>
            <ac:cxnSpMk id="6" creationId="{836F966E-B2E2-49CB-769E-659859A42BFD}"/>
          </ac:cxnSpMkLst>
        </pc:cxnChg>
      </pc:sldChg>
      <pc:sldChg chg="modSp mod">
        <pc:chgData name="Wang, Xing1 /CN/EXT" userId="e7e3a264-d79f-4d05-b0dc-a26ea78b597a" providerId="ADAL" clId="{21917B28-2BBF-4E9D-8E82-43B605E6C797}" dt="2025-03-18T06:39:08.779" v="46" actId="14100"/>
        <pc:sldMkLst>
          <pc:docMk/>
          <pc:sldMk cId="505975562" sldId="2147376439"/>
        </pc:sldMkLst>
        <pc:spChg chg="mod">
          <ac:chgData name="Wang, Xing1 /CN/EXT" userId="e7e3a264-d79f-4d05-b0dc-a26ea78b597a" providerId="ADAL" clId="{21917B28-2BBF-4E9D-8E82-43B605E6C797}" dt="2025-03-18T06:39:08.779" v="46" actId="14100"/>
          <ac:spMkLst>
            <pc:docMk/>
            <pc:sldMk cId="505975562" sldId="2147376439"/>
            <ac:spMk id="7" creationId="{C13B3A16-6DF8-6A6C-4448-E5F0BF94C0F6}"/>
          </ac:spMkLst>
        </pc:spChg>
      </pc:sldChg>
      <pc:sldChg chg="modSp mod">
        <pc:chgData name="Wang, Xing1 /CN/EXT" userId="e7e3a264-d79f-4d05-b0dc-a26ea78b597a" providerId="ADAL" clId="{21917B28-2BBF-4E9D-8E82-43B605E6C797}" dt="2025-03-18T06:39:38.894" v="48" actId="1076"/>
        <pc:sldMkLst>
          <pc:docMk/>
          <pc:sldMk cId="1673379153" sldId="2147376441"/>
        </pc:sldMkLst>
        <pc:spChg chg="mod">
          <ac:chgData name="Wang, Xing1 /CN/EXT" userId="e7e3a264-d79f-4d05-b0dc-a26ea78b597a" providerId="ADAL" clId="{21917B28-2BBF-4E9D-8E82-43B605E6C797}" dt="2025-03-18T06:39:38.894" v="48" actId="1076"/>
          <ac:spMkLst>
            <pc:docMk/>
            <pc:sldMk cId="1673379153" sldId="2147376441"/>
            <ac:spMk id="7" creationId="{C13B3A16-6DF8-6A6C-4448-E5F0BF94C0F6}"/>
          </ac:spMkLst>
        </pc:spChg>
      </pc:sldChg>
      <pc:sldChg chg="modSp mod">
        <pc:chgData name="Wang, Xing1 /CN/EXT" userId="e7e3a264-d79f-4d05-b0dc-a26ea78b597a" providerId="ADAL" clId="{21917B28-2BBF-4E9D-8E82-43B605E6C797}" dt="2025-03-18T06:38:37.316" v="44" actId="14100"/>
        <pc:sldMkLst>
          <pc:docMk/>
          <pc:sldMk cId="73919510" sldId="2147376442"/>
        </pc:sldMkLst>
        <pc:spChg chg="mod">
          <ac:chgData name="Wang, Xing1 /CN/EXT" userId="e7e3a264-d79f-4d05-b0dc-a26ea78b597a" providerId="ADAL" clId="{21917B28-2BBF-4E9D-8E82-43B605E6C797}" dt="2025-03-18T06:38:37.316" v="44" actId="14100"/>
          <ac:spMkLst>
            <pc:docMk/>
            <pc:sldMk cId="73919510" sldId="2147376442"/>
            <ac:spMk id="7" creationId="{C13B3A16-6DF8-6A6C-4448-E5F0BF94C0F6}"/>
          </ac:spMkLst>
        </pc:spChg>
      </pc:sldChg>
      <pc:sldChg chg="addSp delSp modSp add mod">
        <pc:chgData name="Wang, Xing1 /CN/EXT" userId="e7e3a264-d79f-4d05-b0dc-a26ea78b597a" providerId="ADAL" clId="{21917B28-2BBF-4E9D-8E82-43B605E6C797}" dt="2025-03-19T08:23:47.592" v="370" actId="1076"/>
        <pc:sldMkLst>
          <pc:docMk/>
          <pc:sldMk cId="2712491879" sldId="2147376446"/>
        </pc:sldMkLst>
        <pc:picChg chg="add del mod">
          <ac:chgData name="Wang, Xing1 /CN/EXT" userId="e7e3a264-d79f-4d05-b0dc-a26ea78b597a" providerId="ADAL" clId="{21917B28-2BBF-4E9D-8E82-43B605E6C797}" dt="2025-03-19T08:17:54.180" v="325" actId="478"/>
          <ac:picMkLst>
            <pc:docMk/>
            <pc:sldMk cId="2712491879" sldId="2147376446"/>
            <ac:picMk id="5" creationId="{6DD261F7-6997-91F1-5721-A0EAA3245993}"/>
          </ac:picMkLst>
        </pc:picChg>
        <pc:picChg chg="del">
          <ac:chgData name="Wang, Xing1 /CN/EXT" userId="e7e3a264-d79f-4d05-b0dc-a26ea78b597a" providerId="ADAL" clId="{21917B28-2BBF-4E9D-8E82-43B605E6C797}" dt="2025-03-19T08:17:31.974" v="320" actId="478"/>
          <ac:picMkLst>
            <pc:docMk/>
            <pc:sldMk cId="2712491879" sldId="2147376446"/>
            <ac:picMk id="6" creationId="{E82D422E-2CDC-90FC-E311-F26BDA818C51}"/>
          </ac:picMkLst>
        </pc:picChg>
        <pc:picChg chg="add mod">
          <ac:chgData name="Wang, Xing1 /CN/EXT" userId="e7e3a264-d79f-4d05-b0dc-a26ea78b597a" providerId="ADAL" clId="{21917B28-2BBF-4E9D-8E82-43B605E6C797}" dt="2025-03-19T08:23:47.592" v="370" actId="1076"/>
          <ac:picMkLst>
            <pc:docMk/>
            <pc:sldMk cId="2712491879" sldId="2147376446"/>
            <ac:picMk id="8" creationId="{6FE8ABEC-2E8C-AF98-2BDA-6D563F3C49C5}"/>
          </ac:picMkLst>
        </pc:picChg>
      </pc:sldChg>
      <pc:sldChg chg="addSp delSp modSp del mod ord">
        <pc:chgData name="Wang, Xing1 /CN/EXT" userId="e7e3a264-d79f-4d05-b0dc-a26ea78b597a" providerId="ADAL" clId="{21917B28-2BBF-4E9D-8E82-43B605E6C797}" dt="2025-03-19T08:17:20.787" v="318" actId="2696"/>
        <pc:sldMkLst>
          <pc:docMk/>
          <pc:sldMk cId="3889439730" sldId="2147376446"/>
        </pc:sldMkLst>
        <pc:picChg chg="del">
          <ac:chgData name="Wang, Xing1 /CN/EXT" userId="e7e3a264-d79f-4d05-b0dc-a26ea78b597a" providerId="ADAL" clId="{21917B28-2BBF-4E9D-8E82-43B605E6C797}" dt="2025-03-19T07:36:15.220" v="259" actId="478"/>
          <ac:picMkLst>
            <pc:docMk/>
            <pc:sldMk cId="3889439730" sldId="2147376446"/>
            <ac:picMk id="5" creationId="{2E2DDF26-95CB-9CFD-A00E-A1DF16C71B57}"/>
          </ac:picMkLst>
        </pc:picChg>
        <pc:picChg chg="add mod">
          <ac:chgData name="Wang, Xing1 /CN/EXT" userId="e7e3a264-d79f-4d05-b0dc-a26ea78b597a" providerId="ADAL" clId="{21917B28-2BBF-4E9D-8E82-43B605E6C797}" dt="2025-03-19T07:36:39.039" v="263" actId="1076"/>
          <ac:picMkLst>
            <pc:docMk/>
            <pc:sldMk cId="3889439730" sldId="2147376446"/>
            <ac:picMk id="6" creationId="{E82D422E-2CDC-90FC-E311-F26BDA818C51}"/>
          </ac:picMkLst>
        </pc:picChg>
      </pc:sldChg>
      <pc:sldChg chg="del">
        <pc:chgData name="Wang, Xing1 /CN/EXT" userId="e7e3a264-d79f-4d05-b0dc-a26ea78b597a" providerId="ADAL" clId="{21917B28-2BBF-4E9D-8E82-43B605E6C797}" dt="2025-03-20T00:50:35.585" v="377" actId="47"/>
        <pc:sldMkLst>
          <pc:docMk/>
          <pc:sldMk cId="3218728706" sldId="2147376447"/>
        </pc:sldMkLst>
      </pc:sldChg>
      <pc:sldChg chg="modNotesTx">
        <pc:chgData name="Wang, Xing1 /CN/EXT" userId="e7e3a264-d79f-4d05-b0dc-a26ea78b597a" providerId="ADAL" clId="{21917B28-2BBF-4E9D-8E82-43B605E6C797}" dt="2025-03-19T08:21:57.244" v="340" actId="20577"/>
        <pc:sldMkLst>
          <pc:docMk/>
          <pc:sldMk cId="1639935486" sldId="2147376451"/>
        </pc:sldMkLst>
      </pc:sldChg>
      <pc:sldChg chg="addSp delSp modSp add mod modNotesTx">
        <pc:chgData name="Wang, Xing1 /CN/EXT" userId="e7e3a264-d79f-4d05-b0dc-a26ea78b597a" providerId="ADAL" clId="{21917B28-2BBF-4E9D-8E82-43B605E6C797}" dt="2025-03-19T08:20:02.499" v="334" actId="1076"/>
        <pc:sldMkLst>
          <pc:docMk/>
          <pc:sldMk cId="69351710" sldId="2147376454"/>
        </pc:sldMkLst>
        <pc:picChg chg="del">
          <ac:chgData name="Wang, Xing1 /CN/EXT" userId="e7e3a264-d79f-4d05-b0dc-a26ea78b597a" providerId="ADAL" clId="{21917B28-2BBF-4E9D-8E82-43B605E6C797}" dt="2025-03-19T08:12:19.287" v="305" actId="478"/>
          <ac:picMkLst>
            <pc:docMk/>
            <pc:sldMk cId="69351710" sldId="2147376454"/>
            <ac:picMk id="5" creationId="{7127AAA0-E500-DF7A-D3A6-D9F3BC9A010C}"/>
          </ac:picMkLst>
        </pc:picChg>
        <pc:picChg chg="add mod">
          <ac:chgData name="Wang, Xing1 /CN/EXT" userId="e7e3a264-d79f-4d05-b0dc-a26ea78b597a" providerId="ADAL" clId="{21917B28-2BBF-4E9D-8E82-43B605E6C797}" dt="2025-03-19T08:20:02.499" v="334" actId="1076"/>
          <ac:picMkLst>
            <pc:docMk/>
            <pc:sldMk cId="69351710" sldId="2147376454"/>
            <ac:picMk id="5" creationId="{ED8968CB-3917-935E-717E-85E2A9E67EAC}"/>
          </ac:picMkLst>
        </pc:picChg>
        <pc:picChg chg="add del mod">
          <ac:chgData name="Wang, Xing1 /CN/EXT" userId="e7e3a264-d79f-4d05-b0dc-a26ea78b597a" providerId="ADAL" clId="{21917B28-2BBF-4E9D-8E82-43B605E6C797}" dt="2025-03-19T08:19:57.522" v="332" actId="478"/>
          <ac:picMkLst>
            <pc:docMk/>
            <pc:sldMk cId="69351710" sldId="2147376454"/>
            <ac:picMk id="6" creationId="{6CAEFF81-DD4B-E2D2-75ED-13A102024561}"/>
          </ac:picMkLst>
        </pc:picChg>
      </pc:sldChg>
      <pc:sldChg chg="del">
        <pc:chgData name="Wang, Xing1 /CN/EXT" userId="e7e3a264-d79f-4d05-b0dc-a26ea78b597a" providerId="ADAL" clId="{21917B28-2BBF-4E9D-8E82-43B605E6C797}" dt="2025-03-19T07:11:03.023" v="225" actId="2696"/>
        <pc:sldMkLst>
          <pc:docMk/>
          <pc:sldMk cId="1614293848" sldId="2147376454"/>
        </pc:sldMkLst>
      </pc:sldChg>
      <pc:sldChg chg="addSp delSp modSp add del mod">
        <pc:chgData name="Wang, Xing1 /CN/EXT" userId="e7e3a264-d79f-4d05-b0dc-a26ea78b597a" providerId="ADAL" clId="{21917B28-2BBF-4E9D-8E82-43B605E6C797}" dt="2025-03-19T07:48:27.731" v="276" actId="2696"/>
        <pc:sldMkLst>
          <pc:docMk/>
          <pc:sldMk cId="3964229406" sldId="2147376454"/>
        </pc:sldMkLst>
        <pc:picChg chg="add mod">
          <ac:chgData name="Wang, Xing1 /CN/EXT" userId="e7e3a264-d79f-4d05-b0dc-a26ea78b597a" providerId="ADAL" clId="{21917B28-2BBF-4E9D-8E82-43B605E6C797}" dt="2025-03-19T07:11:58.563" v="230" actId="1076"/>
          <ac:picMkLst>
            <pc:docMk/>
            <pc:sldMk cId="3964229406" sldId="2147376454"/>
            <ac:picMk id="5" creationId="{7127AAA0-E500-DF7A-D3A6-D9F3BC9A010C}"/>
          </ac:picMkLst>
        </pc:picChg>
        <pc:picChg chg="del">
          <ac:chgData name="Wang, Xing1 /CN/EXT" userId="e7e3a264-d79f-4d05-b0dc-a26ea78b597a" providerId="ADAL" clId="{21917B28-2BBF-4E9D-8E82-43B605E6C797}" dt="2025-03-19T07:11:50.831" v="227" actId="478"/>
          <ac:picMkLst>
            <pc:docMk/>
            <pc:sldMk cId="3964229406" sldId="2147376454"/>
            <ac:picMk id="6" creationId="{08D32B10-09B7-2ED9-4203-29E19FCEC448}"/>
          </ac:picMkLst>
        </pc:picChg>
      </pc:sldChg>
      <pc:sldChg chg="addSp delSp modSp add del mod">
        <pc:chgData name="Wang, Xing1 /CN/EXT" userId="e7e3a264-d79f-4d05-b0dc-a26ea78b597a" providerId="ADAL" clId="{21917B28-2BBF-4E9D-8E82-43B605E6C797}" dt="2025-03-19T07:48:27.731" v="276" actId="2696"/>
        <pc:sldMkLst>
          <pc:docMk/>
          <pc:sldMk cId="68048378" sldId="2147376455"/>
        </pc:sldMkLst>
        <pc:picChg chg="add mod">
          <ac:chgData name="Wang, Xing1 /CN/EXT" userId="e7e3a264-d79f-4d05-b0dc-a26ea78b597a" providerId="ADAL" clId="{21917B28-2BBF-4E9D-8E82-43B605E6C797}" dt="2025-03-19T07:12:37.937" v="235" actId="1076"/>
          <ac:picMkLst>
            <pc:docMk/>
            <pc:sldMk cId="68048378" sldId="2147376455"/>
            <ac:picMk id="5" creationId="{DA628758-BD9B-3AC8-5302-264C0BF7DEFC}"/>
          </ac:picMkLst>
        </pc:picChg>
        <pc:picChg chg="del">
          <ac:chgData name="Wang, Xing1 /CN/EXT" userId="e7e3a264-d79f-4d05-b0dc-a26ea78b597a" providerId="ADAL" clId="{21917B28-2BBF-4E9D-8E82-43B605E6C797}" dt="2025-03-19T07:12:04.588" v="231" actId="478"/>
          <ac:picMkLst>
            <pc:docMk/>
            <pc:sldMk cId="68048378" sldId="2147376455"/>
            <ac:picMk id="13" creationId="{5663BFA6-AB00-5A26-E15A-A6EA3A8D49ED}"/>
          </ac:picMkLst>
        </pc:picChg>
      </pc:sldChg>
      <pc:sldChg chg="del">
        <pc:chgData name="Wang, Xing1 /CN/EXT" userId="e7e3a264-d79f-4d05-b0dc-a26ea78b597a" providerId="ADAL" clId="{21917B28-2BBF-4E9D-8E82-43B605E6C797}" dt="2025-03-19T07:11:03.023" v="225" actId="2696"/>
        <pc:sldMkLst>
          <pc:docMk/>
          <pc:sldMk cId="1482520950" sldId="2147376455"/>
        </pc:sldMkLst>
      </pc:sldChg>
      <pc:sldChg chg="modSp add mod">
        <pc:chgData name="Wang, Xing1 /CN/EXT" userId="e7e3a264-d79f-4d05-b0dc-a26ea78b597a" providerId="ADAL" clId="{21917B28-2BBF-4E9D-8E82-43B605E6C797}" dt="2025-03-19T08:20:32.898" v="339" actId="1076"/>
        <pc:sldMkLst>
          <pc:docMk/>
          <pc:sldMk cId="3908132269" sldId="2147376455"/>
        </pc:sldMkLst>
        <pc:picChg chg="mod">
          <ac:chgData name="Wang, Xing1 /CN/EXT" userId="e7e3a264-d79f-4d05-b0dc-a26ea78b597a" providerId="ADAL" clId="{21917B28-2BBF-4E9D-8E82-43B605E6C797}" dt="2025-03-19T08:20:32.898" v="339" actId="1076"/>
          <ac:picMkLst>
            <pc:docMk/>
            <pc:sldMk cId="3908132269" sldId="2147376455"/>
            <ac:picMk id="5" creationId="{DA628758-BD9B-3AC8-5302-264C0BF7DEFC}"/>
          </ac:picMkLst>
        </pc:picChg>
        <pc:picChg chg="mod">
          <ac:chgData name="Wang, Xing1 /CN/EXT" userId="e7e3a264-d79f-4d05-b0dc-a26ea78b597a" providerId="ADAL" clId="{21917B28-2BBF-4E9D-8E82-43B605E6C797}" dt="2025-03-19T08:20:22.330" v="335" actId="1076"/>
          <ac:picMkLst>
            <pc:docMk/>
            <pc:sldMk cId="3908132269" sldId="2147376455"/>
            <ac:picMk id="11" creationId="{8A19CD60-9805-B8AD-955E-C93900628B82}"/>
          </ac:picMkLst>
        </pc:picChg>
      </pc:sldChg>
      <pc:sldChg chg="addSp delSp modSp add del mod">
        <pc:chgData name="Wang, Xing1 /CN/EXT" userId="e7e3a264-d79f-4d05-b0dc-a26ea78b597a" providerId="ADAL" clId="{21917B28-2BBF-4E9D-8E82-43B605E6C797}" dt="2025-03-19T07:48:27.731" v="276" actId="2696"/>
        <pc:sldMkLst>
          <pc:docMk/>
          <pc:sldMk cId="124188847" sldId="2147376456"/>
        </pc:sldMkLst>
        <pc:picChg chg="del">
          <ac:chgData name="Wang, Xing1 /CN/EXT" userId="e7e3a264-d79f-4d05-b0dc-a26ea78b597a" providerId="ADAL" clId="{21917B28-2BBF-4E9D-8E82-43B605E6C797}" dt="2025-03-19T07:14:27.241" v="240" actId="478"/>
          <ac:picMkLst>
            <pc:docMk/>
            <pc:sldMk cId="124188847" sldId="2147376456"/>
            <ac:picMk id="4" creationId="{4DB5F0E3-C818-32CC-76B5-00375DAD2C4C}"/>
          </ac:picMkLst>
        </pc:picChg>
        <pc:picChg chg="add del mod">
          <ac:chgData name="Wang, Xing1 /CN/EXT" userId="e7e3a264-d79f-4d05-b0dc-a26ea78b597a" providerId="ADAL" clId="{21917B28-2BBF-4E9D-8E82-43B605E6C797}" dt="2025-03-19T07:14:32.071" v="243" actId="478"/>
          <ac:picMkLst>
            <pc:docMk/>
            <pc:sldMk cId="124188847" sldId="2147376456"/>
            <ac:picMk id="6" creationId="{6ADFCDEC-86E5-AA2C-B20D-01C93D042FEA}"/>
          </ac:picMkLst>
        </pc:picChg>
        <pc:picChg chg="add mod">
          <ac:chgData name="Wang, Xing1 /CN/EXT" userId="e7e3a264-d79f-4d05-b0dc-a26ea78b597a" providerId="ADAL" clId="{21917B28-2BBF-4E9D-8E82-43B605E6C797}" dt="2025-03-19T07:15:16.548" v="245" actId="1076"/>
          <ac:picMkLst>
            <pc:docMk/>
            <pc:sldMk cId="124188847" sldId="2147376456"/>
            <ac:picMk id="8" creationId="{67480FA6-71F6-04A1-FD24-2165784D8881}"/>
          </ac:picMkLst>
        </pc:picChg>
      </pc:sldChg>
      <pc:sldChg chg="addSp delSp modSp del mod delAnim modAnim">
        <pc:chgData name="Wang, Xing1 /CN/EXT" userId="e7e3a264-d79f-4d05-b0dc-a26ea78b597a" providerId="ADAL" clId="{21917B28-2BBF-4E9D-8E82-43B605E6C797}" dt="2025-03-19T07:11:03.023" v="225" actId="2696"/>
        <pc:sldMkLst>
          <pc:docMk/>
          <pc:sldMk cId="1400347754" sldId="2147376456"/>
        </pc:sldMkLst>
        <pc:picChg chg="add del mod">
          <ac:chgData name="Wang, Xing1 /CN/EXT" userId="e7e3a264-d79f-4d05-b0dc-a26ea78b597a" providerId="ADAL" clId="{21917B28-2BBF-4E9D-8E82-43B605E6C797}" dt="2025-03-18T07:21:33.128" v="144" actId="478"/>
          <ac:picMkLst>
            <pc:docMk/>
            <pc:sldMk cId="1400347754" sldId="2147376456"/>
            <ac:picMk id="5" creationId="{2F54F559-B048-7315-EB9A-04AE535DABFC}"/>
          </ac:picMkLst>
        </pc:picChg>
      </pc:sldChg>
      <pc:sldChg chg="add">
        <pc:chgData name="Wang, Xing1 /CN/EXT" userId="e7e3a264-d79f-4d05-b0dc-a26ea78b597a" providerId="ADAL" clId="{21917B28-2BBF-4E9D-8E82-43B605E6C797}" dt="2025-03-19T07:48:36.795" v="277"/>
        <pc:sldMkLst>
          <pc:docMk/>
          <pc:sldMk cId="3853016357" sldId="2147376456"/>
        </pc:sldMkLst>
      </pc:sldChg>
      <pc:sldChg chg="addSp delSp modSp add del mod">
        <pc:chgData name="Wang, Xing1 /CN/EXT" userId="e7e3a264-d79f-4d05-b0dc-a26ea78b597a" providerId="ADAL" clId="{21917B28-2BBF-4E9D-8E82-43B605E6C797}" dt="2025-03-19T07:48:27.731" v="276" actId="2696"/>
        <pc:sldMkLst>
          <pc:docMk/>
          <pc:sldMk cId="3852974820" sldId="2147376457"/>
        </pc:sldMkLst>
        <pc:picChg chg="del">
          <ac:chgData name="Wang, Xing1 /CN/EXT" userId="e7e3a264-d79f-4d05-b0dc-a26ea78b597a" providerId="ADAL" clId="{21917B28-2BBF-4E9D-8E82-43B605E6C797}" dt="2025-03-19T07:13:03.066" v="236" actId="478"/>
          <ac:picMkLst>
            <pc:docMk/>
            <pc:sldMk cId="3852974820" sldId="2147376457"/>
            <ac:picMk id="4" creationId="{36390EDE-9470-A8E8-B4F2-45683E84C21D}"/>
          </ac:picMkLst>
        </pc:picChg>
        <pc:picChg chg="add mod">
          <ac:chgData name="Wang, Xing1 /CN/EXT" userId="e7e3a264-d79f-4d05-b0dc-a26ea78b597a" providerId="ADAL" clId="{21917B28-2BBF-4E9D-8E82-43B605E6C797}" dt="2025-03-19T07:13:09.696" v="239" actId="1076"/>
          <ac:picMkLst>
            <pc:docMk/>
            <pc:sldMk cId="3852974820" sldId="2147376457"/>
            <ac:picMk id="7" creationId="{05149360-79B9-E24C-A6E2-7866A6022E77}"/>
          </ac:picMkLst>
        </pc:picChg>
      </pc:sldChg>
      <pc:sldChg chg="del">
        <pc:chgData name="Wang, Xing1 /CN/EXT" userId="e7e3a264-d79f-4d05-b0dc-a26ea78b597a" providerId="ADAL" clId="{21917B28-2BBF-4E9D-8E82-43B605E6C797}" dt="2025-03-19T07:11:03.023" v="225" actId="2696"/>
        <pc:sldMkLst>
          <pc:docMk/>
          <pc:sldMk cId="3936317893" sldId="2147376457"/>
        </pc:sldMkLst>
      </pc:sldChg>
      <pc:sldChg chg="add">
        <pc:chgData name="Wang, Xing1 /CN/EXT" userId="e7e3a264-d79f-4d05-b0dc-a26ea78b597a" providerId="ADAL" clId="{21917B28-2BBF-4E9D-8E82-43B605E6C797}" dt="2025-03-19T07:48:36.795" v="277"/>
        <pc:sldMkLst>
          <pc:docMk/>
          <pc:sldMk cId="4245079200" sldId="2147376457"/>
        </pc:sldMkLst>
      </pc:sldChg>
      <pc:sldChg chg="addSp delSp modSp del mod">
        <pc:chgData name="Wang, Xing1 /CN/EXT" userId="e7e3a264-d79f-4d05-b0dc-a26ea78b597a" providerId="ADAL" clId="{21917B28-2BBF-4E9D-8E82-43B605E6C797}" dt="2025-03-19T07:29:26.292" v="246" actId="2696"/>
        <pc:sldMkLst>
          <pc:docMk/>
          <pc:sldMk cId="3535044655" sldId="2147376465"/>
        </pc:sldMkLst>
        <pc:spChg chg="del mod">
          <ac:chgData name="Wang, Xing1 /CN/EXT" userId="e7e3a264-d79f-4d05-b0dc-a26ea78b597a" providerId="ADAL" clId="{21917B28-2BBF-4E9D-8E82-43B605E6C797}" dt="2025-03-18T06:48:15.228" v="129" actId="478"/>
          <ac:spMkLst>
            <pc:docMk/>
            <pc:sldMk cId="3535044655" sldId="2147376465"/>
            <ac:spMk id="2" creationId="{D73B230C-1EC0-DB92-63AE-5824227C67CC}"/>
          </ac:spMkLst>
        </pc:spChg>
        <pc:spChg chg="add del mod">
          <ac:chgData name="Wang, Xing1 /CN/EXT" userId="e7e3a264-d79f-4d05-b0dc-a26ea78b597a" providerId="ADAL" clId="{21917B28-2BBF-4E9D-8E82-43B605E6C797}" dt="2025-03-18T06:48:12.605" v="128" actId="478"/>
          <ac:spMkLst>
            <pc:docMk/>
            <pc:sldMk cId="3535044655" sldId="2147376465"/>
            <ac:spMk id="5" creationId="{926E9B5F-4464-77CD-7702-521687A22843}"/>
          </ac:spMkLst>
        </pc:spChg>
        <pc:picChg chg="mod">
          <ac:chgData name="Wang, Xing1 /CN/EXT" userId="e7e3a264-d79f-4d05-b0dc-a26ea78b597a" providerId="ADAL" clId="{21917B28-2BBF-4E9D-8E82-43B605E6C797}" dt="2025-03-18T06:48:38.849" v="137" actId="1076"/>
          <ac:picMkLst>
            <pc:docMk/>
            <pc:sldMk cId="3535044655" sldId="2147376465"/>
            <ac:picMk id="4" creationId="{51B2B753-9E1D-7FC3-EE2A-50675C0445B9}"/>
          </ac:picMkLst>
        </pc:picChg>
        <pc:picChg chg="add mod">
          <ac:chgData name="Wang, Xing1 /CN/EXT" userId="e7e3a264-d79f-4d05-b0dc-a26ea78b597a" providerId="ADAL" clId="{21917B28-2BBF-4E9D-8E82-43B605E6C797}" dt="2025-03-18T06:48:20.347" v="131" actId="14100"/>
          <ac:picMkLst>
            <pc:docMk/>
            <pc:sldMk cId="3535044655" sldId="2147376465"/>
            <ac:picMk id="6" creationId="{D3638F1B-BA12-9048-5246-0E0AA7749560}"/>
          </ac:picMkLst>
        </pc:picChg>
        <pc:picChg chg="add mod">
          <ac:chgData name="Wang, Xing1 /CN/EXT" userId="e7e3a264-d79f-4d05-b0dc-a26ea78b597a" providerId="ADAL" clId="{21917B28-2BBF-4E9D-8E82-43B605E6C797}" dt="2025-03-18T06:48:29.645" v="134" actId="1076"/>
          <ac:picMkLst>
            <pc:docMk/>
            <pc:sldMk cId="3535044655" sldId="2147376465"/>
            <ac:picMk id="7" creationId="{FAFA8AF0-06FF-CD4C-83D4-7122A4D42C07}"/>
          </ac:picMkLst>
        </pc:picChg>
      </pc:sldChg>
      <pc:sldChg chg="add del">
        <pc:chgData name="Wang, Xing1 /CN/EXT" userId="e7e3a264-d79f-4d05-b0dc-a26ea78b597a" providerId="ADAL" clId="{21917B28-2BBF-4E9D-8E82-43B605E6C797}" dt="2025-03-19T08:12:58.408" v="309" actId="47"/>
        <pc:sldMkLst>
          <pc:docMk/>
          <pc:sldMk cId="3902730330" sldId="2147376465"/>
        </pc:sldMkLst>
      </pc:sldChg>
      <pc:sldChg chg="del">
        <pc:chgData name="Wang, Xing1 /CN/EXT" userId="e7e3a264-d79f-4d05-b0dc-a26ea78b597a" providerId="ADAL" clId="{21917B28-2BBF-4E9D-8E82-43B605E6C797}" dt="2025-03-18T06:48:48.478" v="141" actId="47"/>
        <pc:sldMkLst>
          <pc:docMk/>
          <pc:sldMk cId="4266056340" sldId="2147376467"/>
        </pc:sldMkLst>
      </pc:sldChg>
      <pc:sldChg chg="del">
        <pc:chgData name="Wang, Xing1 /CN/EXT" userId="e7e3a264-d79f-4d05-b0dc-a26ea78b597a" providerId="ADAL" clId="{21917B28-2BBF-4E9D-8E82-43B605E6C797}" dt="2025-03-18T06:48:47.171" v="140" actId="47"/>
        <pc:sldMkLst>
          <pc:docMk/>
          <pc:sldMk cId="1236000972" sldId="2147376469"/>
        </pc:sldMkLst>
      </pc:sldChg>
      <pc:sldChg chg="addSp delSp modSp mod">
        <pc:chgData name="Wang, Xing1 /CN/EXT" userId="e7e3a264-d79f-4d05-b0dc-a26ea78b597a" providerId="ADAL" clId="{21917B28-2BBF-4E9D-8E82-43B605E6C797}" dt="2025-03-18T06:43:30.026" v="88" actId="1076"/>
        <pc:sldMkLst>
          <pc:docMk/>
          <pc:sldMk cId="1191020517" sldId="2147376471"/>
        </pc:sldMkLst>
        <pc:spChg chg="add mod">
          <ac:chgData name="Wang, Xing1 /CN/EXT" userId="e7e3a264-d79f-4d05-b0dc-a26ea78b597a" providerId="ADAL" clId="{21917B28-2BBF-4E9D-8E82-43B605E6C797}" dt="2025-03-18T06:42:12.027" v="71" actId="1076"/>
          <ac:spMkLst>
            <pc:docMk/>
            <pc:sldMk cId="1191020517" sldId="2147376471"/>
            <ac:spMk id="5" creationId="{CCC6D3E5-992E-E800-4AA7-709511FE1057}"/>
          </ac:spMkLst>
        </pc:spChg>
        <pc:spChg chg="mod">
          <ac:chgData name="Wang, Xing1 /CN/EXT" userId="e7e3a264-d79f-4d05-b0dc-a26ea78b597a" providerId="ADAL" clId="{21917B28-2BBF-4E9D-8E82-43B605E6C797}" dt="2025-03-18T06:41:14.452" v="65" actId="165"/>
          <ac:spMkLst>
            <pc:docMk/>
            <pc:sldMk cId="1191020517" sldId="2147376471"/>
            <ac:spMk id="7" creationId="{8907E449-E83B-37DD-AB05-11F7D56BE435}"/>
          </ac:spMkLst>
        </pc:spChg>
        <pc:spChg chg="mod">
          <ac:chgData name="Wang, Xing1 /CN/EXT" userId="e7e3a264-d79f-4d05-b0dc-a26ea78b597a" providerId="ADAL" clId="{21917B28-2BBF-4E9D-8E82-43B605E6C797}" dt="2025-03-18T06:41:14.452" v="65" actId="165"/>
          <ac:spMkLst>
            <pc:docMk/>
            <pc:sldMk cId="1191020517" sldId="2147376471"/>
            <ac:spMk id="8" creationId="{F490EF64-FAF0-B97B-203E-6506952896C2}"/>
          </ac:spMkLst>
        </pc:spChg>
        <pc:spChg chg="add mod">
          <ac:chgData name="Wang, Xing1 /CN/EXT" userId="e7e3a264-d79f-4d05-b0dc-a26ea78b597a" providerId="ADAL" clId="{21917B28-2BBF-4E9D-8E82-43B605E6C797}" dt="2025-03-18T06:42:26.435" v="75" actId="20577"/>
          <ac:spMkLst>
            <pc:docMk/>
            <pc:sldMk cId="1191020517" sldId="2147376471"/>
            <ac:spMk id="11" creationId="{C59DC977-EA0B-1EBC-165A-B1B667052335}"/>
          </ac:spMkLst>
        </pc:spChg>
        <pc:spChg chg="mod topLvl">
          <ac:chgData name="Wang, Xing1 /CN/EXT" userId="e7e3a264-d79f-4d05-b0dc-a26ea78b597a" providerId="ADAL" clId="{21917B28-2BBF-4E9D-8E82-43B605E6C797}" dt="2025-03-18T06:41:14.452" v="65" actId="165"/>
          <ac:spMkLst>
            <pc:docMk/>
            <pc:sldMk cId="1191020517" sldId="2147376471"/>
            <ac:spMk id="12" creationId="{DE9130D1-9495-491F-ADF0-50917B63AE29}"/>
          </ac:spMkLst>
        </pc:spChg>
        <pc:spChg chg="mod topLvl">
          <ac:chgData name="Wang, Xing1 /CN/EXT" userId="e7e3a264-d79f-4d05-b0dc-a26ea78b597a" providerId="ADAL" clId="{21917B28-2BBF-4E9D-8E82-43B605E6C797}" dt="2025-03-18T06:41:14.452" v="65" actId="165"/>
          <ac:spMkLst>
            <pc:docMk/>
            <pc:sldMk cId="1191020517" sldId="2147376471"/>
            <ac:spMk id="13" creationId="{87572D68-3DED-F6CD-835D-6F341161B11A}"/>
          </ac:spMkLst>
        </pc:spChg>
        <pc:spChg chg="mod">
          <ac:chgData name="Wang, Xing1 /CN/EXT" userId="e7e3a264-d79f-4d05-b0dc-a26ea78b597a" providerId="ADAL" clId="{21917B28-2BBF-4E9D-8E82-43B605E6C797}" dt="2025-03-18T06:41:14.452" v="65" actId="165"/>
          <ac:spMkLst>
            <pc:docMk/>
            <pc:sldMk cId="1191020517" sldId="2147376471"/>
            <ac:spMk id="15" creationId="{07131DBE-4ED3-D514-5BC8-DB13BFA8BD77}"/>
          </ac:spMkLst>
        </pc:spChg>
        <pc:spChg chg="mod">
          <ac:chgData name="Wang, Xing1 /CN/EXT" userId="e7e3a264-d79f-4d05-b0dc-a26ea78b597a" providerId="ADAL" clId="{21917B28-2BBF-4E9D-8E82-43B605E6C797}" dt="2025-03-18T06:41:14.452" v="65" actId="165"/>
          <ac:spMkLst>
            <pc:docMk/>
            <pc:sldMk cId="1191020517" sldId="2147376471"/>
            <ac:spMk id="16" creationId="{6AFA667F-85A9-CD0A-98CE-F3AFC3F40A52}"/>
          </ac:spMkLst>
        </pc:spChg>
        <pc:spChg chg="mod topLvl">
          <ac:chgData name="Wang, Xing1 /CN/EXT" userId="e7e3a264-d79f-4d05-b0dc-a26ea78b597a" providerId="ADAL" clId="{21917B28-2BBF-4E9D-8E82-43B605E6C797}" dt="2025-03-18T06:41:14.452" v="65" actId="165"/>
          <ac:spMkLst>
            <pc:docMk/>
            <pc:sldMk cId="1191020517" sldId="2147376471"/>
            <ac:spMk id="17" creationId="{04559FBC-9DED-A234-FC30-13FD358456B8}"/>
          </ac:spMkLst>
        </pc:spChg>
        <pc:spChg chg="mod topLvl">
          <ac:chgData name="Wang, Xing1 /CN/EXT" userId="e7e3a264-d79f-4d05-b0dc-a26ea78b597a" providerId="ADAL" clId="{21917B28-2BBF-4E9D-8E82-43B605E6C797}" dt="2025-03-18T06:41:14.452" v="65" actId="165"/>
          <ac:spMkLst>
            <pc:docMk/>
            <pc:sldMk cId="1191020517" sldId="2147376471"/>
            <ac:spMk id="18" creationId="{29A93464-8591-8581-10A8-777A419F81DB}"/>
          </ac:spMkLst>
        </pc:spChg>
        <pc:spChg chg="mod topLvl">
          <ac:chgData name="Wang, Xing1 /CN/EXT" userId="e7e3a264-d79f-4d05-b0dc-a26ea78b597a" providerId="ADAL" clId="{21917B28-2BBF-4E9D-8E82-43B605E6C797}" dt="2025-03-18T06:41:14.452" v="65" actId="165"/>
          <ac:spMkLst>
            <pc:docMk/>
            <pc:sldMk cId="1191020517" sldId="2147376471"/>
            <ac:spMk id="19" creationId="{BEE49E4E-C332-11F5-99AB-F2FD0431E68D}"/>
          </ac:spMkLst>
        </pc:spChg>
        <pc:spChg chg="mod">
          <ac:chgData name="Wang, Xing1 /CN/EXT" userId="e7e3a264-d79f-4d05-b0dc-a26ea78b597a" providerId="ADAL" clId="{21917B28-2BBF-4E9D-8E82-43B605E6C797}" dt="2025-03-18T06:41:14.452" v="65" actId="165"/>
          <ac:spMkLst>
            <pc:docMk/>
            <pc:sldMk cId="1191020517" sldId="2147376471"/>
            <ac:spMk id="21" creationId="{AB3915A6-5445-79D0-AB69-47542C4D2363}"/>
          </ac:spMkLst>
        </pc:spChg>
        <pc:spChg chg="mod">
          <ac:chgData name="Wang, Xing1 /CN/EXT" userId="e7e3a264-d79f-4d05-b0dc-a26ea78b597a" providerId="ADAL" clId="{21917B28-2BBF-4E9D-8E82-43B605E6C797}" dt="2025-03-18T06:41:14.452" v="65" actId="165"/>
          <ac:spMkLst>
            <pc:docMk/>
            <pc:sldMk cId="1191020517" sldId="2147376471"/>
            <ac:spMk id="22" creationId="{14D92B19-699F-1807-CE43-201356F898FE}"/>
          </ac:spMkLst>
        </pc:spChg>
        <pc:spChg chg="mod topLvl">
          <ac:chgData name="Wang, Xing1 /CN/EXT" userId="e7e3a264-d79f-4d05-b0dc-a26ea78b597a" providerId="ADAL" clId="{21917B28-2BBF-4E9D-8E82-43B605E6C797}" dt="2025-03-18T06:41:14.452" v="65" actId="165"/>
          <ac:spMkLst>
            <pc:docMk/>
            <pc:sldMk cId="1191020517" sldId="2147376471"/>
            <ac:spMk id="24" creationId="{58D60B90-D8BA-5260-5E6A-CA893C679CDD}"/>
          </ac:spMkLst>
        </pc:spChg>
        <pc:spChg chg="mod topLvl">
          <ac:chgData name="Wang, Xing1 /CN/EXT" userId="e7e3a264-d79f-4d05-b0dc-a26ea78b597a" providerId="ADAL" clId="{21917B28-2BBF-4E9D-8E82-43B605E6C797}" dt="2025-03-18T06:41:14.452" v="65" actId="165"/>
          <ac:spMkLst>
            <pc:docMk/>
            <pc:sldMk cId="1191020517" sldId="2147376471"/>
            <ac:spMk id="25" creationId="{7D43F30D-EFD1-247C-0AAC-F733521E5B12}"/>
          </ac:spMkLst>
        </pc:spChg>
        <pc:spChg chg="mod topLvl">
          <ac:chgData name="Wang, Xing1 /CN/EXT" userId="e7e3a264-d79f-4d05-b0dc-a26ea78b597a" providerId="ADAL" clId="{21917B28-2BBF-4E9D-8E82-43B605E6C797}" dt="2025-03-18T06:43:19.249" v="86" actId="1076"/>
          <ac:spMkLst>
            <pc:docMk/>
            <pc:sldMk cId="1191020517" sldId="2147376471"/>
            <ac:spMk id="27" creationId="{4D53D48A-5C7C-455D-8888-9C890368A2DF}"/>
          </ac:spMkLst>
        </pc:spChg>
        <pc:spChg chg="mod topLvl">
          <ac:chgData name="Wang, Xing1 /CN/EXT" userId="e7e3a264-d79f-4d05-b0dc-a26ea78b597a" providerId="ADAL" clId="{21917B28-2BBF-4E9D-8E82-43B605E6C797}" dt="2025-03-18T06:41:59.868" v="69" actId="1076"/>
          <ac:spMkLst>
            <pc:docMk/>
            <pc:sldMk cId="1191020517" sldId="2147376471"/>
            <ac:spMk id="32" creationId="{531E02AB-EFDF-1F78-AB3B-E6BEBF4FCE2A}"/>
          </ac:spMkLst>
        </pc:spChg>
        <pc:spChg chg="mod topLvl">
          <ac:chgData name="Wang, Xing1 /CN/EXT" userId="e7e3a264-d79f-4d05-b0dc-a26ea78b597a" providerId="ADAL" clId="{21917B28-2BBF-4E9D-8E82-43B605E6C797}" dt="2025-03-18T06:42:28.859" v="77" actId="20577"/>
          <ac:spMkLst>
            <pc:docMk/>
            <pc:sldMk cId="1191020517" sldId="2147376471"/>
            <ac:spMk id="33" creationId="{5191EAB9-052E-6D3F-7B3C-EEE891943CC4}"/>
          </ac:spMkLst>
        </pc:spChg>
        <pc:spChg chg="mod topLvl">
          <ac:chgData name="Wang, Xing1 /CN/EXT" userId="e7e3a264-d79f-4d05-b0dc-a26ea78b597a" providerId="ADAL" clId="{21917B28-2BBF-4E9D-8E82-43B605E6C797}" dt="2025-03-18T06:41:59.868" v="69" actId="1076"/>
          <ac:spMkLst>
            <pc:docMk/>
            <pc:sldMk cId="1191020517" sldId="2147376471"/>
            <ac:spMk id="36" creationId="{6A6FE825-4B16-8B07-05DB-3E821FA2858E}"/>
          </ac:spMkLst>
        </pc:spChg>
        <pc:spChg chg="mod topLvl">
          <ac:chgData name="Wang, Xing1 /CN/EXT" userId="e7e3a264-d79f-4d05-b0dc-a26ea78b597a" providerId="ADAL" clId="{21917B28-2BBF-4E9D-8E82-43B605E6C797}" dt="2025-03-18T06:41:59.868" v="69" actId="1076"/>
          <ac:spMkLst>
            <pc:docMk/>
            <pc:sldMk cId="1191020517" sldId="2147376471"/>
            <ac:spMk id="37" creationId="{0A0CD8BA-C7EA-FA39-BBAF-90686CC55DDC}"/>
          </ac:spMkLst>
        </pc:spChg>
        <pc:spChg chg="mod topLvl">
          <ac:chgData name="Wang, Xing1 /CN/EXT" userId="e7e3a264-d79f-4d05-b0dc-a26ea78b597a" providerId="ADAL" clId="{21917B28-2BBF-4E9D-8E82-43B605E6C797}" dt="2025-03-18T06:41:28.249" v="66" actId="1076"/>
          <ac:spMkLst>
            <pc:docMk/>
            <pc:sldMk cId="1191020517" sldId="2147376471"/>
            <ac:spMk id="38" creationId="{08A10C46-A81E-D1E6-4D62-31274CCDA600}"/>
          </ac:spMkLst>
        </pc:spChg>
        <pc:spChg chg="mod topLvl">
          <ac:chgData name="Wang, Xing1 /CN/EXT" userId="e7e3a264-d79f-4d05-b0dc-a26ea78b597a" providerId="ADAL" clId="{21917B28-2BBF-4E9D-8E82-43B605E6C797}" dt="2025-03-18T06:42:31.352" v="79" actId="20577"/>
          <ac:spMkLst>
            <pc:docMk/>
            <pc:sldMk cId="1191020517" sldId="2147376471"/>
            <ac:spMk id="39" creationId="{94FFF5CD-812D-0D81-94C9-A2094B30C998}"/>
          </ac:spMkLst>
        </pc:spChg>
        <pc:spChg chg="mod topLvl">
          <ac:chgData name="Wang, Xing1 /CN/EXT" userId="e7e3a264-d79f-4d05-b0dc-a26ea78b597a" providerId="ADAL" clId="{21917B28-2BBF-4E9D-8E82-43B605E6C797}" dt="2025-03-18T06:41:28.249" v="66" actId="1076"/>
          <ac:spMkLst>
            <pc:docMk/>
            <pc:sldMk cId="1191020517" sldId="2147376471"/>
            <ac:spMk id="42" creationId="{746692E7-D942-E89F-2132-41938C78980E}"/>
          </ac:spMkLst>
        </pc:spChg>
        <pc:spChg chg="mod topLvl">
          <ac:chgData name="Wang, Xing1 /CN/EXT" userId="e7e3a264-d79f-4d05-b0dc-a26ea78b597a" providerId="ADAL" clId="{21917B28-2BBF-4E9D-8E82-43B605E6C797}" dt="2025-03-18T06:41:28.249" v="66" actId="1076"/>
          <ac:spMkLst>
            <pc:docMk/>
            <pc:sldMk cId="1191020517" sldId="2147376471"/>
            <ac:spMk id="43" creationId="{2D9F105C-AB8C-ED11-B9D7-AF0E0E5BDC24}"/>
          </ac:spMkLst>
        </pc:spChg>
        <pc:grpChg chg="mod topLvl">
          <ac:chgData name="Wang, Xing1 /CN/EXT" userId="e7e3a264-d79f-4d05-b0dc-a26ea78b597a" providerId="ADAL" clId="{21917B28-2BBF-4E9D-8E82-43B605E6C797}" dt="2025-03-18T06:41:14.452" v="65" actId="165"/>
          <ac:grpSpMkLst>
            <pc:docMk/>
            <pc:sldMk cId="1191020517" sldId="2147376471"/>
            <ac:grpSpMk id="10" creationId="{E8CB8AC3-67FF-8CA9-87C4-1939D2656823}"/>
          </ac:grpSpMkLst>
        </pc:grpChg>
        <pc:grpChg chg="mod topLvl">
          <ac:chgData name="Wang, Xing1 /CN/EXT" userId="e7e3a264-d79f-4d05-b0dc-a26ea78b597a" providerId="ADAL" clId="{21917B28-2BBF-4E9D-8E82-43B605E6C797}" dt="2025-03-18T06:41:14.452" v="65" actId="165"/>
          <ac:grpSpMkLst>
            <pc:docMk/>
            <pc:sldMk cId="1191020517" sldId="2147376471"/>
            <ac:grpSpMk id="14" creationId="{51899C9E-5C5D-F3B1-1FFE-DE5AE31877AB}"/>
          </ac:grpSpMkLst>
        </pc:grpChg>
        <pc:grpChg chg="mod topLvl">
          <ac:chgData name="Wang, Xing1 /CN/EXT" userId="e7e3a264-d79f-4d05-b0dc-a26ea78b597a" providerId="ADAL" clId="{21917B28-2BBF-4E9D-8E82-43B605E6C797}" dt="2025-03-18T06:41:14.452" v="65" actId="165"/>
          <ac:grpSpMkLst>
            <pc:docMk/>
            <pc:sldMk cId="1191020517" sldId="2147376471"/>
            <ac:grpSpMk id="20" creationId="{B6A335DD-4AA5-71D8-0CD7-BEA537C1F44F}"/>
          </ac:grpSpMkLst>
        </pc:grpChg>
        <pc:grpChg chg="del">
          <ac:chgData name="Wang, Xing1 /CN/EXT" userId="e7e3a264-d79f-4d05-b0dc-a26ea78b597a" providerId="ADAL" clId="{21917B28-2BBF-4E9D-8E82-43B605E6C797}" dt="2025-03-18T06:41:14.452" v="65" actId="165"/>
          <ac:grpSpMkLst>
            <pc:docMk/>
            <pc:sldMk cId="1191020517" sldId="2147376471"/>
            <ac:grpSpMk id="44" creationId="{7678111C-D7C4-9198-2F09-C03849D503D8}"/>
          </ac:grpSpMkLst>
        </pc:grpChg>
        <pc:cxnChg chg="add mod">
          <ac:chgData name="Wang, Xing1 /CN/EXT" userId="e7e3a264-d79f-4d05-b0dc-a26ea78b597a" providerId="ADAL" clId="{21917B28-2BBF-4E9D-8E82-43B605E6C797}" dt="2025-03-18T06:43:30.026" v="88" actId="1076"/>
          <ac:cxnSpMkLst>
            <pc:docMk/>
            <pc:sldMk cId="1191020517" sldId="2147376471"/>
            <ac:cxnSpMk id="23" creationId="{E2068C3F-A013-1BD0-ED7D-155EAE928403}"/>
          </ac:cxnSpMkLst>
        </pc:cxnChg>
        <pc:cxnChg chg="mod">
          <ac:chgData name="Wang, Xing1 /CN/EXT" userId="e7e3a264-d79f-4d05-b0dc-a26ea78b597a" providerId="ADAL" clId="{21917B28-2BBF-4E9D-8E82-43B605E6C797}" dt="2025-03-18T06:41:59.868" v="69" actId="1076"/>
          <ac:cxnSpMkLst>
            <pc:docMk/>
            <pc:sldMk cId="1191020517" sldId="2147376471"/>
            <ac:cxnSpMk id="46" creationId="{17CC9F17-8808-6B8D-DD49-F8D2A726E17A}"/>
          </ac:cxnSpMkLst>
        </pc:cxnChg>
        <pc:cxnChg chg="mod">
          <ac:chgData name="Wang, Xing1 /CN/EXT" userId="e7e3a264-d79f-4d05-b0dc-a26ea78b597a" providerId="ADAL" clId="{21917B28-2BBF-4E9D-8E82-43B605E6C797}" dt="2025-03-18T06:41:28.249" v="66" actId="1076"/>
          <ac:cxnSpMkLst>
            <pc:docMk/>
            <pc:sldMk cId="1191020517" sldId="2147376471"/>
            <ac:cxnSpMk id="47" creationId="{8CA2474A-30BF-4DA4-9E79-D00F6D3A4B53}"/>
          </ac:cxnSpMkLst>
        </pc:cxnChg>
      </pc:sldChg>
      <pc:sldChg chg="modSp mod">
        <pc:chgData name="Wang, Xing1 /CN/EXT" userId="e7e3a264-d79f-4d05-b0dc-a26ea78b597a" providerId="ADAL" clId="{21917B28-2BBF-4E9D-8E82-43B605E6C797}" dt="2025-03-18T06:45:33.538" v="102"/>
        <pc:sldMkLst>
          <pc:docMk/>
          <pc:sldMk cId="882684263" sldId="2147376472"/>
        </pc:sldMkLst>
        <pc:spChg chg="mod">
          <ac:chgData name="Wang, Xing1 /CN/EXT" userId="e7e3a264-d79f-4d05-b0dc-a26ea78b597a" providerId="ADAL" clId="{21917B28-2BBF-4E9D-8E82-43B605E6C797}" dt="2025-03-18T06:44:19.512" v="92" actId="1076"/>
          <ac:spMkLst>
            <pc:docMk/>
            <pc:sldMk cId="882684263" sldId="2147376472"/>
            <ac:spMk id="3" creationId="{2A43402A-4091-DBE0-BF01-404AA54E1DD5}"/>
          </ac:spMkLst>
        </pc:spChg>
        <pc:graphicFrameChg chg="mod modGraphic">
          <ac:chgData name="Wang, Xing1 /CN/EXT" userId="e7e3a264-d79f-4d05-b0dc-a26ea78b597a" providerId="ADAL" clId="{21917B28-2BBF-4E9D-8E82-43B605E6C797}" dt="2025-03-18T06:45:33.538" v="102"/>
          <ac:graphicFrameMkLst>
            <pc:docMk/>
            <pc:sldMk cId="882684263" sldId="2147376472"/>
            <ac:graphicFrameMk id="4" creationId="{228C5499-E791-BBD2-1DAD-03F049017485}"/>
          </ac:graphicFrameMkLst>
        </pc:graphicFrameChg>
      </pc:sldChg>
      <pc:sldChg chg="add del">
        <pc:chgData name="Wang, Xing1 /CN/EXT" userId="e7e3a264-d79f-4d05-b0dc-a26ea78b597a" providerId="ADAL" clId="{21917B28-2BBF-4E9D-8E82-43B605E6C797}" dt="2025-03-20T00:50:35.585" v="377" actId="47"/>
        <pc:sldMkLst>
          <pc:docMk/>
          <pc:sldMk cId="2841635275" sldId="2147376473"/>
        </pc:sldMkLst>
      </pc:sldChg>
      <pc:sldChg chg="del">
        <pc:chgData name="Wang, Xing1 /CN/EXT" userId="e7e3a264-d79f-4d05-b0dc-a26ea78b597a" providerId="ADAL" clId="{21917B28-2BBF-4E9D-8E82-43B605E6C797}" dt="2025-03-18T06:45:46.680" v="103" actId="2696"/>
        <pc:sldMkLst>
          <pc:docMk/>
          <pc:sldMk cId="3197287482" sldId="2147376473"/>
        </pc:sldMkLst>
      </pc:sldChg>
      <pc:sldChg chg="addSp modSp mod">
        <pc:chgData name="Wang, Xing1 /CN/EXT" userId="e7e3a264-d79f-4d05-b0dc-a26ea78b597a" providerId="ADAL" clId="{21917B28-2BBF-4E9D-8E82-43B605E6C797}" dt="2025-03-19T08:23:23.064" v="368" actId="20577"/>
        <pc:sldMkLst>
          <pc:docMk/>
          <pc:sldMk cId="2411965582" sldId="2147376478"/>
        </pc:sldMkLst>
        <pc:spChg chg="add mod">
          <ac:chgData name="Wang, Xing1 /CN/EXT" userId="e7e3a264-d79f-4d05-b0dc-a26ea78b597a" providerId="ADAL" clId="{21917B28-2BBF-4E9D-8E82-43B605E6C797}" dt="2025-03-19T08:23:23.064" v="368" actId="20577"/>
          <ac:spMkLst>
            <pc:docMk/>
            <pc:sldMk cId="2411965582" sldId="2147376478"/>
            <ac:spMk id="3" creationId="{3E4042AC-93CD-14E3-1F43-672DDB647F4E}"/>
          </ac:spMkLst>
        </pc:spChg>
        <pc:spChg chg="mod">
          <ac:chgData name="Wang, Xing1 /CN/EXT" userId="e7e3a264-d79f-4d05-b0dc-a26ea78b597a" providerId="ADAL" clId="{21917B28-2BBF-4E9D-8E82-43B605E6C797}" dt="2025-03-19T08:10:19.482" v="299" actId="1076"/>
          <ac:spMkLst>
            <pc:docMk/>
            <pc:sldMk cId="2411965582" sldId="2147376478"/>
            <ac:spMk id="10" creationId="{DE4AC86C-2729-44F8-8172-BB4BAA8DDF92}"/>
          </ac:spMkLst>
        </pc:spChg>
      </pc:sldChg>
      <pc:sldChg chg="add del">
        <pc:chgData name="Wang, Xing1 /CN/EXT" userId="e7e3a264-d79f-4d05-b0dc-a26ea78b597a" providerId="ADAL" clId="{21917B28-2BBF-4E9D-8E82-43B605E6C797}" dt="2025-03-18T06:48:44.840" v="139" actId="47"/>
        <pc:sldMkLst>
          <pc:docMk/>
          <pc:sldMk cId="1225736665" sldId="2147376479"/>
        </pc:sldMkLst>
      </pc:sldChg>
      <pc:sldChg chg="addSp delSp modSp add del mod modTransition delAnim modAnim">
        <pc:chgData name="Wang, Xing1 /CN/EXT" userId="e7e3a264-d79f-4d05-b0dc-a26ea78b597a" providerId="ADAL" clId="{21917B28-2BBF-4E9D-8E82-43B605E6C797}" dt="2025-03-20T00:50:30.104" v="376" actId="47"/>
        <pc:sldMkLst>
          <pc:docMk/>
          <pc:sldMk cId="2264566031" sldId="2147376479"/>
        </pc:sldMkLst>
        <pc:spChg chg="del">
          <ac:chgData name="Wang, Xing1 /CN/EXT" userId="e7e3a264-d79f-4d05-b0dc-a26ea78b597a" providerId="ADAL" clId="{21917B28-2BBF-4E9D-8E82-43B605E6C797}" dt="2025-03-18T07:22:55.427" v="148" actId="478"/>
          <ac:spMkLst>
            <pc:docMk/>
            <pc:sldMk cId="2264566031" sldId="2147376479"/>
            <ac:spMk id="3" creationId="{2A43402A-4091-DBE0-BF01-404AA54E1DD5}"/>
          </ac:spMkLst>
        </pc:spChg>
        <pc:spChg chg="mod">
          <ac:chgData name="Wang, Xing1 /CN/EXT" userId="e7e3a264-d79f-4d05-b0dc-a26ea78b597a" providerId="ADAL" clId="{21917B28-2BBF-4E9D-8E82-43B605E6C797}" dt="2025-03-18T07:56:33.098" v="191" actId="20577"/>
          <ac:spMkLst>
            <pc:docMk/>
            <pc:sldMk cId="2264566031" sldId="2147376479"/>
            <ac:spMk id="9" creationId="{0FCD7A1A-AC55-4A33-BF10-0F487B76AD7E}"/>
          </ac:spMkLst>
        </pc:spChg>
        <pc:graphicFrameChg chg="del">
          <ac:chgData name="Wang, Xing1 /CN/EXT" userId="e7e3a264-d79f-4d05-b0dc-a26ea78b597a" providerId="ADAL" clId="{21917B28-2BBF-4E9D-8E82-43B605E6C797}" dt="2025-03-18T07:22:58.310" v="149" actId="478"/>
          <ac:graphicFrameMkLst>
            <pc:docMk/>
            <pc:sldMk cId="2264566031" sldId="2147376479"/>
            <ac:graphicFrameMk id="4" creationId="{228C5499-E791-BBD2-1DAD-03F049017485}"/>
          </ac:graphicFrameMkLst>
        </pc:graphicFrameChg>
        <pc:picChg chg="add del mod">
          <ac:chgData name="Wang, Xing1 /CN/EXT" userId="e7e3a264-d79f-4d05-b0dc-a26ea78b597a" providerId="ADAL" clId="{21917B28-2BBF-4E9D-8E82-43B605E6C797}" dt="2025-03-18T07:25:00.168" v="151" actId="478"/>
          <ac:picMkLst>
            <pc:docMk/>
            <pc:sldMk cId="2264566031" sldId="2147376479"/>
            <ac:picMk id="5" creationId="{D97EED4C-C498-3671-DD58-AA6C71A69D12}"/>
          </ac:picMkLst>
        </pc:picChg>
        <pc:picChg chg="add del mod">
          <ac:chgData name="Wang, Xing1 /CN/EXT" userId="e7e3a264-d79f-4d05-b0dc-a26ea78b597a" providerId="ADAL" clId="{21917B28-2BBF-4E9D-8E82-43B605E6C797}" dt="2025-03-18T07:26:03.971" v="153" actId="478"/>
          <ac:picMkLst>
            <pc:docMk/>
            <pc:sldMk cId="2264566031" sldId="2147376479"/>
            <ac:picMk id="6" creationId="{6AA25D17-0A11-1566-78E4-F50371A54869}"/>
          </ac:picMkLst>
        </pc:picChg>
        <pc:picChg chg="add del mod">
          <ac:chgData name="Wang, Xing1 /CN/EXT" userId="e7e3a264-d79f-4d05-b0dc-a26ea78b597a" providerId="ADAL" clId="{21917B28-2BBF-4E9D-8E82-43B605E6C797}" dt="2025-03-18T07:30:24.669" v="160" actId="478"/>
          <ac:picMkLst>
            <pc:docMk/>
            <pc:sldMk cId="2264566031" sldId="2147376479"/>
            <ac:picMk id="7" creationId="{7E42EFC3-4F19-BFD9-86CC-4DC64AB5DEAD}"/>
          </ac:picMkLst>
        </pc:picChg>
        <pc:picChg chg="add del mod">
          <ac:chgData name="Wang, Xing1 /CN/EXT" userId="e7e3a264-d79f-4d05-b0dc-a26ea78b597a" providerId="ADAL" clId="{21917B28-2BBF-4E9D-8E82-43B605E6C797}" dt="2025-03-18T07:31:56.346" v="162" actId="478"/>
          <ac:picMkLst>
            <pc:docMk/>
            <pc:sldMk cId="2264566031" sldId="2147376479"/>
            <ac:picMk id="8" creationId="{79A1B0F3-B780-4366-BD4F-D93961882C30}"/>
          </ac:picMkLst>
        </pc:picChg>
        <pc:picChg chg="add del mod">
          <ac:chgData name="Wang, Xing1 /CN/EXT" userId="e7e3a264-d79f-4d05-b0dc-a26ea78b597a" providerId="ADAL" clId="{21917B28-2BBF-4E9D-8E82-43B605E6C797}" dt="2025-03-18T07:37:42.829" v="164" actId="478"/>
          <ac:picMkLst>
            <pc:docMk/>
            <pc:sldMk cId="2264566031" sldId="2147376479"/>
            <ac:picMk id="10" creationId="{F66C7883-31EF-B68A-E199-DA694FCE859A}"/>
          </ac:picMkLst>
        </pc:picChg>
        <pc:picChg chg="add del mod">
          <ac:chgData name="Wang, Xing1 /CN/EXT" userId="e7e3a264-d79f-4d05-b0dc-a26ea78b597a" providerId="ADAL" clId="{21917B28-2BBF-4E9D-8E82-43B605E6C797}" dt="2025-03-18T07:42:12.413" v="166" actId="478"/>
          <ac:picMkLst>
            <pc:docMk/>
            <pc:sldMk cId="2264566031" sldId="2147376479"/>
            <ac:picMk id="11" creationId="{65E5B131-78C0-FDAB-5116-3693F5BCCADE}"/>
          </ac:picMkLst>
        </pc:picChg>
        <pc:picChg chg="add del mod">
          <ac:chgData name="Wang, Xing1 /CN/EXT" userId="e7e3a264-d79f-4d05-b0dc-a26ea78b597a" providerId="ADAL" clId="{21917B28-2BBF-4E9D-8E82-43B605E6C797}" dt="2025-03-18T07:48:59.204" v="173" actId="478"/>
          <ac:picMkLst>
            <pc:docMk/>
            <pc:sldMk cId="2264566031" sldId="2147376479"/>
            <ac:picMk id="12" creationId="{CEB1B28C-B2C3-8CAA-93A7-D3DBE14E4669}"/>
          </ac:picMkLst>
        </pc:picChg>
        <pc:picChg chg="add mod">
          <ac:chgData name="Wang, Xing1 /CN/EXT" userId="e7e3a264-d79f-4d05-b0dc-a26ea78b597a" providerId="ADAL" clId="{21917B28-2BBF-4E9D-8E82-43B605E6C797}" dt="2025-03-19T07:45:08.933" v="271" actId="1076"/>
          <ac:picMkLst>
            <pc:docMk/>
            <pc:sldMk cId="2264566031" sldId="2147376479"/>
            <ac:picMk id="13" creationId="{C5463ADB-0001-F965-AAB8-38293CE973BA}"/>
          </ac:picMkLst>
        </pc:picChg>
      </pc:sldChg>
      <pc:sldChg chg="new del">
        <pc:chgData name="Wang, Xing1 /CN/EXT" userId="e7e3a264-d79f-4d05-b0dc-a26ea78b597a" providerId="ADAL" clId="{21917B28-2BBF-4E9D-8E82-43B605E6C797}" dt="2025-03-18T07:22:43.596" v="146" actId="47"/>
        <pc:sldMkLst>
          <pc:docMk/>
          <pc:sldMk cId="2469555461" sldId="2147376479"/>
        </pc:sldMkLst>
      </pc:sldChg>
      <pc:sldChg chg="addSp delSp modSp add mod">
        <pc:chgData name="Wang, Xing1 /CN/EXT" userId="e7e3a264-d79f-4d05-b0dc-a26ea78b597a" providerId="ADAL" clId="{21917B28-2BBF-4E9D-8E82-43B605E6C797}" dt="2025-03-18T07:59:11.098" v="211" actId="20577"/>
        <pc:sldMkLst>
          <pc:docMk/>
          <pc:sldMk cId="263037846" sldId="2147376480"/>
        </pc:sldMkLst>
        <pc:spChg chg="del">
          <ac:chgData name="Wang, Xing1 /CN/EXT" userId="e7e3a264-d79f-4d05-b0dc-a26ea78b597a" providerId="ADAL" clId="{21917B28-2BBF-4E9D-8E82-43B605E6C797}" dt="2025-03-18T07:58:16.434" v="193" actId="478"/>
          <ac:spMkLst>
            <pc:docMk/>
            <pc:sldMk cId="263037846" sldId="2147376480"/>
            <ac:spMk id="3" creationId="{2A43402A-4091-DBE0-BF01-404AA54E1DD5}"/>
          </ac:spMkLst>
        </pc:spChg>
        <pc:spChg chg="add mod">
          <ac:chgData name="Wang, Xing1 /CN/EXT" userId="e7e3a264-d79f-4d05-b0dc-a26ea78b597a" providerId="ADAL" clId="{21917B28-2BBF-4E9D-8E82-43B605E6C797}" dt="2025-03-18T07:59:11.098" v="211" actId="20577"/>
          <ac:spMkLst>
            <pc:docMk/>
            <pc:sldMk cId="263037846" sldId="2147376480"/>
            <ac:spMk id="5" creationId="{76D2FB12-450F-6005-84D6-62B178D2F86D}"/>
          </ac:spMkLst>
        </pc:spChg>
        <pc:graphicFrameChg chg="del">
          <ac:chgData name="Wang, Xing1 /CN/EXT" userId="e7e3a264-d79f-4d05-b0dc-a26ea78b597a" providerId="ADAL" clId="{21917B28-2BBF-4E9D-8E82-43B605E6C797}" dt="2025-03-18T07:58:17.850" v="194" actId="478"/>
          <ac:graphicFrameMkLst>
            <pc:docMk/>
            <pc:sldMk cId="263037846" sldId="2147376480"/>
            <ac:graphicFrameMk id="4" creationId="{228C5499-E791-BBD2-1DAD-03F049017485}"/>
          </ac:graphicFrameMkLst>
        </pc:graphicFrameChg>
        <pc:picChg chg="add mod">
          <ac:chgData name="Wang, Xing1 /CN/EXT" userId="e7e3a264-d79f-4d05-b0dc-a26ea78b597a" providerId="ADAL" clId="{21917B28-2BBF-4E9D-8E82-43B605E6C797}" dt="2025-03-18T07:58:30.548" v="197" actId="1076"/>
          <ac:picMkLst>
            <pc:docMk/>
            <pc:sldMk cId="263037846" sldId="2147376480"/>
            <ac:picMk id="1026" creationId="{8A4D00B3-1C83-C65A-838E-F3955D18CEF3}"/>
          </ac:picMkLst>
        </pc:picChg>
      </pc:sldChg>
      <pc:sldChg chg="add del">
        <pc:chgData name="Wang, Xing1 /CN/EXT" userId="e7e3a264-d79f-4d05-b0dc-a26ea78b597a" providerId="ADAL" clId="{21917B28-2BBF-4E9D-8E82-43B605E6C797}" dt="2025-03-18T06:48:42.752" v="138" actId="47"/>
        <pc:sldMkLst>
          <pc:docMk/>
          <pc:sldMk cId="1311540200" sldId="2147376480"/>
        </pc:sldMkLst>
      </pc:sldChg>
      <pc:sldChg chg="add del">
        <pc:chgData name="Wang, Xing1 /CN/EXT" userId="e7e3a264-d79f-4d05-b0dc-a26ea78b597a" providerId="ADAL" clId="{21917B28-2BBF-4E9D-8E82-43B605E6C797}" dt="2025-03-19T08:12:55.054" v="308" actId="47"/>
        <pc:sldMkLst>
          <pc:docMk/>
          <pc:sldMk cId="828028090" sldId="2147376481"/>
        </pc:sldMkLst>
      </pc:sldChg>
      <pc:sldChg chg="addSp delSp modSp add mod delAnim modAnim">
        <pc:chgData name="Wang, Xing1 /CN/EXT" userId="e7e3a264-d79f-4d05-b0dc-a26ea78b597a" providerId="ADAL" clId="{21917B28-2BBF-4E9D-8E82-43B605E6C797}" dt="2025-03-20T00:47:50.399" v="375" actId="1076"/>
        <pc:sldMkLst>
          <pc:docMk/>
          <pc:sldMk cId="1754961432" sldId="2147376481"/>
        </pc:sldMkLst>
        <pc:picChg chg="add mod">
          <ac:chgData name="Wang, Xing1 /CN/EXT" userId="e7e3a264-d79f-4d05-b0dc-a26ea78b597a" providerId="ADAL" clId="{21917B28-2BBF-4E9D-8E82-43B605E6C797}" dt="2025-03-20T00:47:50.399" v="375" actId="1076"/>
          <ac:picMkLst>
            <pc:docMk/>
            <pc:sldMk cId="1754961432" sldId="2147376481"/>
            <ac:picMk id="3" creationId="{9DB67A61-2BE7-F034-BF3C-48077596B48E}"/>
          </ac:picMkLst>
        </pc:picChg>
        <pc:picChg chg="del">
          <ac:chgData name="Wang, Xing1 /CN/EXT" userId="e7e3a264-d79f-4d05-b0dc-a26ea78b597a" providerId="ADAL" clId="{21917B28-2BBF-4E9D-8E82-43B605E6C797}" dt="2025-03-20T00:44:36.643" v="372" actId="478"/>
          <ac:picMkLst>
            <pc:docMk/>
            <pc:sldMk cId="1754961432" sldId="2147376481"/>
            <ac:picMk id="13" creationId="{C5463ADB-0001-F965-AAB8-38293CE973BA}"/>
          </ac:picMkLst>
        </pc:picChg>
      </pc:sldChg>
      <pc:sldChg chg="addSp delSp modSp add del mod modTransition delAnim modAnim modNotesTx">
        <pc:chgData name="Wang, Xing1 /CN/EXT" userId="e7e3a264-d79f-4d05-b0dc-a26ea78b597a" providerId="ADAL" clId="{21917B28-2BBF-4E9D-8E82-43B605E6C797}" dt="2025-03-19T07:48:15.453" v="274" actId="2696"/>
        <pc:sldMkLst>
          <pc:docMk/>
          <pc:sldMk cId="3627533110" sldId="2147376481"/>
        </pc:sldMkLst>
        <pc:spChg chg="del">
          <ac:chgData name="Wang, Xing1 /CN/EXT" userId="e7e3a264-d79f-4d05-b0dc-a26ea78b597a" providerId="ADAL" clId="{21917B28-2BBF-4E9D-8E82-43B605E6C797}" dt="2025-03-19T07:10:21.733" v="220" actId="478"/>
          <ac:spMkLst>
            <pc:docMk/>
            <pc:sldMk cId="3627533110" sldId="2147376481"/>
            <ac:spMk id="2" creationId="{54DAAEF1-9AFF-C425-C422-42AD03FB1F3D}"/>
          </ac:spMkLst>
        </pc:spChg>
        <pc:picChg chg="add del mod">
          <ac:chgData name="Wang, Xing1 /CN/EXT" userId="e7e3a264-d79f-4d05-b0dc-a26ea78b597a" providerId="ADAL" clId="{21917B28-2BBF-4E9D-8E82-43B605E6C797}" dt="2025-03-19T07:06:55.942" v="215" actId="478"/>
          <ac:picMkLst>
            <pc:docMk/>
            <pc:sldMk cId="3627533110" sldId="2147376481"/>
            <ac:picMk id="4" creationId="{9A4B8D6A-5858-7F02-3E61-B6F58630AA29}"/>
          </ac:picMkLst>
        </pc:picChg>
        <pc:picChg chg="add mod">
          <ac:chgData name="Wang, Xing1 /CN/EXT" userId="e7e3a264-d79f-4d05-b0dc-a26ea78b597a" providerId="ADAL" clId="{21917B28-2BBF-4E9D-8E82-43B605E6C797}" dt="2025-03-19T07:10:35.668" v="224" actId="1076"/>
          <ac:picMkLst>
            <pc:docMk/>
            <pc:sldMk cId="3627533110" sldId="2147376481"/>
            <ac:picMk id="5" creationId="{7388DFC3-C43A-D053-CFEF-FA6673D63B19}"/>
          </ac:picMkLst>
        </pc:picChg>
        <pc:picChg chg="del">
          <ac:chgData name="Wang, Xing1 /CN/EXT" userId="e7e3a264-d79f-4d05-b0dc-a26ea78b597a" providerId="ADAL" clId="{21917B28-2BBF-4E9D-8E82-43B605E6C797}" dt="2025-03-19T07:06:14.004" v="213" actId="478"/>
          <ac:picMkLst>
            <pc:docMk/>
            <pc:sldMk cId="3627533110" sldId="2147376481"/>
            <ac:picMk id="6" creationId="{08D32B10-09B7-2ED9-4203-29E19FCEC448}"/>
          </ac:picMkLst>
        </pc:picChg>
      </pc:sldChg>
      <pc:sldChg chg="add del">
        <pc:chgData name="Wang, Xing1 /CN/EXT" userId="e7e3a264-d79f-4d05-b0dc-a26ea78b597a" providerId="ADAL" clId="{21917B28-2BBF-4E9D-8E82-43B605E6C797}" dt="2025-03-19T07:49:02.988" v="278" actId="2696"/>
        <pc:sldMkLst>
          <pc:docMk/>
          <pc:sldMk cId="128168329" sldId="2147376482"/>
        </pc:sldMkLst>
      </pc:sldChg>
      <pc:sldChg chg="add del">
        <pc:chgData name="Wang, Xing1 /CN/EXT" userId="e7e3a264-d79f-4d05-b0dc-a26ea78b597a" providerId="ADAL" clId="{21917B28-2BBF-4E9D-8E82-43B605E6C797}" dt="2025-03-19T08:07:15.091" v="280" actId="47"/>
        <pc:sldMkLst>
          <pc:docMk/>
          <pc:sldMk cId="1555256960" sldId="2147376482"/>
        </pc:sldMkLst>
      </pc:sldChg>
      <pc:sldChg chg="addSp delSp modSp add del mod delAnim modAnim">
        <pc:chgData name="Wang, Xing1 /CN/EXT" userId="e7e3a264-d79f-4d05-b0dc-a26ea78b597a" providerId="ADAL" clId="{21917B28-2BBF-4E9D-8E82-43B605E6C797}" dt="2025-03-19T07:44:08.035" v="270" actId="47"/>
        <pc:sldMkLst>
          <pc:docMk/>
          <pc:sldMk cId="2515975769" sldId="2147376482"/>
        </pc:sldMkLst>
        <pc:picChg chg="add del mod">
          <ac:chgData name="Wang, Xing1 /CN/EXT" userId="e7e3a264-d79f-4d05-b0dc-a26ea78b597a" providerId="ADAL" clId="{21917B28-2BBF-4E9D-8E82-43B605E6C797}" dt="2025-03-19T07:42:27.503" v="267" actId="478"/>
          <ac:picMkLst>
            <pc:docMk/>
            <pc:sldMk cId="2515975769" sldId="2147376482"/>
            <ac:picMk id="3" creationId="{4A4F0119-6874-AAE1-78EB-FE3242B23CEC}"/>
          </ac:picMkLst>
        </pc:picChg>
        <pc:picChg chg="add del mod">
          <ac:chgData name="Wang, Xing1 /CN/EXT" userId="e7e3a264-d79f-4d05-b0dc-a26ea78b597a" providerId="ADAL" clId="{21917B28-2BBF-4E9D-8E82-43B605E6C797}" dt="2025-03-19T07:44:05.224" v="269" actId="478"/>
          <ac:picMkLst>
            <pc:docMk/>
            <pc:sldMk cId="2515975769" sldId="2147376482"/>
            <ac:picMk id="4" creationId="{F1D2F67E-7200-003C-89F7-BBCE9A2AE6D6}"/>
          </ac:picMkLst>
        </pc:picChg>
        <pc:picChg chg="del">
          <ac:chgData name="Wang, Xing1 /CN/EXT" userId="e7e3a264-d79f-4d05-b0dc-a26ea78b597a" providerId="ADAL" clId="{21917B28-2BBF-4E9D-8E82-43B605E6C797}" dt="2025-03-19T07:40:16.033" v="265" actId="478"/>
          <ac:picMkLst>
            <pc:docMk/>
            <pc:sldMk cId="2515975769" sldId="2147376482"/>
            <ac:picMk id="13" creationId="{C5463ADB-0001-F965-AAB8-38293CE973BA}"/>
          </ac:picMkLst>
        </pc:picChg>
      </pc:sldChg>
    </pc:docChg>
  </pc:docChgLst>
  <pc:docChgLst>
    <pc:chgData name="Wang, Xing1 /CN/EXT" userId="e7e3a264-d79f-4d05-b0dc-a26ea78b597a" providerId="ADAL" clId="{73C04C14-A225-478F-A32C-B622CC39F259}"/>
    <pc:docChg chg="custSel addSld delSld modSld modMainMaster">
      <pc:chgData name="Wang, Xing1 /CN/EXT" userId="e7e3a264-d79f-4d05-b0dc-a26ea78b597a" providerId="ADAL" clId="{73C04C14-A225-478F-A32C-B622CC39F259}" dt="2025-03-20T06:50:59.087" v="18" actId="1076"/>
      <pc:docMkLst>
        <pc:docMk/>
      </pc:docMkLst>
      <pc:sldChg chg="modSp mod">
        <pc:chgData name="Wang, Xing1 /CN/EXT" userId="e7e3a264-d79f-4d05-b0dc-a26ea78b597a" providerId="ADAL" clId="{73C04C14-A225-478F-A32C-B622CC39F259}" dt="2025-03-20T06:49:59.090" v="9" actId="1076"/>
        <pc:sldMkLst>
          <pc:docMk/>
          <pc:sldMk cId="2331853025" sldId="2147376435"/>
        </pc:sldMkLst>
        <pc:spChg chg="mod">
          <ac:chgData name="Wang, Xing1 /CN/EXT" userId="e7e3a264-d79f-4d05-b0dc-a26ea78b597a" providerId="ADAL" clId="{73C04C14-A225-478F-A32C-B622CC39F259}" dt="2025-03-20T06:49:59.090" v="9" actId="1076"/>
          <ac:spMkLst>
            <pc:docMk/>
            <pc:sldMk cId="2331853025" sldId="2147376435"/>
            <ac:spMk id="4" creationId="{97B8F5B9-493E-D021-9BD3-B0D4874AB079}"/>
          </ac:spMkLst>
        </pc:spChg>
      </pc:sldChg>
      <pc:sldChg chg="modSp mod">
        <pc:chgData name="Wang, Xing1 /CN/EXT" userId="e7e3a264-d79f-4d05-b0dc-a26ea78b597a" providerId="ADAL" clId="{73C04C14-A225-478F-A32C-B622CC39F259}" dt="2025-03-20T06:50:02.514" v="10" actId="1076"/>
        <pc:sldMkLst>
          <pc:docMk/>
          <pc:sldMk cId="4229166338" sldId="2147376437"/>
        </pc:sldMkLst>
        <pc:spChg chg="mod">
          <ac:chgData name="Wang, Xing1 /CN/EXT" userId="e7e3a264-d79f-4d05-b0dc-a26ea78b597a" providerId="ADAL" clId="{73C04C14-A225-478F-A32C-B622CC39F259}" dt="2025-03-20T06:50:02.514" v="10" actId="1076"/>
          <ac:spMkLst>
            <pc:docMk/>
            <pc:sldMk cId="4229166338" sldId="2147376437"/>
            <ac:spMk id="5" creationId="{E6B28880-2F68-6024-4D06-6F01B6EE175C}"/>
          </ac:spMkLst>
        </pc:spChg>
      </pc:sldChg>
      <pc:sldChg chg="modSp mod">
        <pc:chgData name="Wang, Xing1 /CN/EXT" userId="e7e3a264-d79f-4d05-b0dc-a26ea78b597a" providerId="ADAL" clId="{73C04C14-A225-478F-A32C-B622CC39F259}" dt="2025-03-20T06:50:08.851" v="11" actId="1076"/>
        <pc:sldMkLst>
          <pc:docMk/>
          <pc:sldMk cId="505975562" sldId="2147376439"/>
        </pc:sldMkLst>
        <pc:spChg chg="mod">
          <ac:chgData name="Wang, Xing1 /CN/EXT" userId="e7e3a264-d79f-4d05-b0dc-a26ea78b597a" providerId="ADAL" clId="{73C04C14-A225-478F-A32C-B622CC39F259}" dt="2025-03-20T06:50:08.851" v="11" actId="1076"/>
          <ac:spMkLst>
            <pc:docMk/>
            <pc:sldMk cId="505975562" sldId="2147376439"/>
            <ac:spMk id="5" creationId="{40A991E6-6709-9B2D-03FD-CB939DE53862}"/>
          </ac:spMkLst>
        </pc:spChg>
      </pc:sldChg>
      <pc:sldChg chg="delSp mod">
        <pc:chgData name="Wang, Xing1 /CN/EXT" userId="e7e3a264-d79f-4d05-b0dc-a26ea78b597a" providerId="ADAL" clId="{73C04C14-A225-478F-A32C-B622CC39F259}" dt="2025-03-20T06:50:14.394" v="12" actId="478"/>
        <pc:sldMkLst>
          <pc:docMk/>
          <pc:sldMk cId="1673379153" sldId="2147376441"/>
        </pc:sldMkLst>
        <pc:spChg chg="del">
          <ac:chgData name="Wang, Xing1 /CN/EXT" userId="e7e3a264-d79f-4d05-b0dc-a26ea78b597a" providerId="ADAL" clId="{73C04C14-A225-478F-A32C-B622CC39F259}" dt="2025-03-20T06:50:14.394" v="12" actId="478"/>
          <ac:spMkLst>
            <pc:docMk/>
            <pc:sldMk cId="1673379153" sldId="2147376441"/>
            <ac:spMk id="8" creationId="{0CBAB7F9-DBB0-5E9D-6762-CA6FF4A0F73D}"/>
          </ac:spMkLst>
        </pc:spChg>
      </pc:sldChg>
      <pc:sldChg chg="modSp mod">
        <pc:chgData name="Wang, Xing1 /CN/EXT" userId="e7e3a264-d79f-4d05-b0dc-a26ea78b597a" providerId="ADAL" clId="{73C04C14-A225-478F-A32C-B622CC39F259}" dt="2025-03-20T06:50:59.087" v="18" actId="1076"/>
        <pc:sldMkLst>
          <pc:docMk/>
          <pc:sldMk cId="1639935486" sldId="2147376451"/>
        </pc:sldMkLst>
        <pc:spChg chg="mod">
          <ac:chgData name="Wang, Xing1 /CN/EXT" userId="e7e3a264-d79f-4d05-b0dc-a26ea78b597a" providerId="ADAL" clId="{73C04C14-A225-478F-A32C-B622CC39F259}" dt="2025-03-20T06:50:52.816" v="17" actId="1076"/>
          <ac:spMkLst>
            <pc:docMk/>
            <pc:sldMk cId="1639935486" sldId="2147376451"/>
            <ac:spMk id="6" creationId="{6085CE06-E267-B448-9B5F-4A743875D102}"/>
          </ac:spMkLst>
        </pc:spChg>
        <pc:grpChg chg="mod">
          <ac:chgData name="Wang, Xing1 /CN/EXT" userId="e7e3a264-d79f-4d05-b0dc-a26ea78b597a" providerId="ADAL" clId="{73C04C14-A225-478F-A32C-B622CC39F259}" dt="2025-03-20T06:50:59.087" v="18" actId="1076"/>
          <ac:grpSpMkLst>
            <pc:docMk/>
            <pc:sldMk cId="1639935486" sldId="2147376451"/>
            <ac:grpSpMk id="2" creationId="{B5CC6DB7-7D56-553E-0C90-241B992D1027}"/>
          </ac:grpSpMkLst>
        </pc:grpChg>
      </pc:sldChg>
      <pc:sldChg chg="delSp mod">
        <pc:chgData name="Wang, Xing1 /CN/EXT" userId="e7e3a264-d79f-4d05-b0dc-a26ea78b597a" providerId="ADAL" clId="{73C04C14-A225-478F-A32C-B622CC39F259}" dt="2025-03-20T06:50:36.988" v="15" actId="478"/>
        <pc:sldMkLst>
          <pc:docMk/>
          <pc:sldMk cId="3908132269" sldId="2147376455"/>
        </pc:sldMkLst>
        <pc:spChg chg="del">
          <ac:chgData name="Wang, Xing1 /CN/EXT" userId="e7e3a264-d79f-4d05-b0dc-a26ea78b597a" providerId="ADAL" clId="{73C04C14-A225-478F-A32C-B622CC39F259}" dt="2025-03-20T06:50:36.988" v="15" actId="478"/>
          <ac:spMkLst>
            <pc:docMk/>
            <pc:sldMk cId="3908132269" sldId="2147376455"/>
            <ac:spMk id="4" creationId="{E138AE01-18A0-F97F-DBD9-4A72352BDF40}"/>
          </ac:spMkLst>
        </pc:spChg>
      </pc:sldChg>
      <pc:sldChg chg="modSp mod">
        <pc:chgData name="Wang, Xing1 /CN/EXT" userId="e7e3a264-d79f-4d05-b0dc-a26ea78b597a" providerId="ADAL" clId="{73C04C14-A225-478F-A32C-B622CC39F259}" dt="2025-03-20T06:50:44.032" v="16" actId="1076"/>
        <pc:sldMkLst>
          <pc:docMk/>
          <pc:sldMk cId="3853016357" sldId="2147376456"/>
        </pc:sldMkLst>
        <pc:spChg chg="mod">
          <ac:chgData name="Wang, Xing1 /CN/EXT" userId="e7e3a264-d79f-4d05-b0dc-a26ea78b597a" providerId="ADAL" clId="{73C04C14-A225-478F-A32C-B622CC39F259}" dt="2025-03-20T06:50:44.032" v="16" actId="1076"/>
          <ac:spMkLst>
            <pc:docMk/>
            <pc:sldMk cId="3853016357" sldId="2147376456"/>
            <ac:spMk id="4" creationId="{C9030538-DDC2-A893-A750-F1F0795AEA31}"/>
          </ac:spMkLst>
        </pc:spChg>
      </pc:sldChg>
      <pc:sldChg chg="modSp mod">
        <pc:chgData name="Wang, Xing1 /CN/EXT" userId="e7e3a264-d79f-4d05-b0dc-a26ea78b597a" providerId="ADAL" clId="{73C04C14-A225-478F-A32C-B622CC39F259}" dt="2025-03-20T06:50:23.027" v="13" actId="1076"/>
        <pc:sldMkLst>
          <pc:docMk/>
          <pc:sldMk cId="882684263" sldId="2147376472"/>
        </pc:sldMkLst>
        <pc:spChg chg="mod">
          <ac:chgData name="Wang, Xing1 /CN/EXT" userId="e7e3a264-d79f-4d05-b0dc-a26ea78b597a" providerId="ADAL" clId="{73C04C14-A225-478F-A32C-B622CC39F259}" dt="2025-03-20T06:50:23.027" v="13" actId="1076"/>
          <ac:spMkLst>
            <pc:docMk/>
            <pc:sldMk cId="882684263" sldId="2147376472"/>
            <ac:spMk id="5" creationId="{408F73A6-F6A0-50A4-29B5-70960E71DCB5}"/>
          </ac:spMkLst>
        </pc:spChg>
      </pc:sldChg>
      <pc:sldChg chg="modSp mod">
        <pc:chgData name="Wang, Xing1 /CN/EXT" userId="e7e3a264-d79f-4d05-b0dc-a26ea78b597a" providerId="ADAL" clId="{73C04C14-A225-478F-A32C-B622CC39F259}" dt="2025-03-20T06:49:51.688" v="8" actId="1076"/>
        <pc:sldMkLst>
          <pc:docMk/>
          <pc:sldMk cId="18501072" sldId="2147376474"/>
        </pc:sldMkLst>
        <pc:spChg chg="mod">
          <ac:chgData name="Wang, Xing1 /CN/EXT" userId="e7e3a264-d79f-4d05-b0dc-a26ea78b597a" providerId="ADAL" clId="{73C04C14-A225-478F-A32C-B622CC39F259}" dt="2025-03-20T06:49:51.688" v="8" actId="1076"/>
          <ac:spMkLst>
            <pc:docMk/>
            <pc:sldMk cId="18501072" sldId="2147376474"/>
            <ac:spMk id="8" creationId="{FDF1C880-19EB-022D-327A-65C82FF501A2}"/>
          </ac:spMkLst>
        </pc:spChg>
      </pc:sldChg>
      <pc:sldChg chg="modSp mod">
        <pc:chgData name="Wang, Xing1 /CN/EXT" userId="e7e3a264-d79f-4d05-b0dc-a26ea78b597a" providerId="ADAL" clId="{73C04C14-A225-478F-A32C-B622CC39F259}" dt="2025-03-20T06:49:28.327" v="6" actId="1076"/>
        <pc:sldMkLst>
          <pc:docMk/>
          <pc:sldMk cId="3163381443" sldId="2147376475"/>
        </pc:sldMkLst>
        <pc:spChg chg="mod">
          <ac:chgData name="Wang, Xing1 /CN/EXT" userId="e7e3a264-d79f-4d05-b0dc-a26ea78b597a" providerId="ADAL" clId="{73C04C14-A225-478F-A32C-B622CC39F259}" dt="2025-03-20T06:49:28.327" v="6" actId="1076"/>
          <ac:spMkLst>
            <pc:docMk/>
            <pc:sldMk cId="3163381443" sldId="2147376475"/>
            <ac:spMk id="22" creationId="{FFCD9288-352D-76D1-57F0-43A1698F9A0E}"/>
          </ac:spMkLst>
        </pc:spChg>
      </pc:sldChg>
      <pc:sldChg chg="delSp mod">
        <pc:chgData name="Wang, Xing1 /CN/EXT" userId="e7e3a264-d79f-4d05-b0dc-a26ea78b597a" providerId="ADAL" clId="{73C04C14-A225-478F-A32C-B622CC39F259}" dt="2025-03-20T06:50:28.786" v="14" actId="478"/>
        <pc:sldMkLst>
          <pc:docMk/>
          <pc:sldMk cId="263037846" sldId="2147376480"/>
        </pc:sldMkLst>
        <pc:spChg chg="del">
          <ac:chgData name="Wang, Xing1 /CN/EXT" userId="e7e3a264-d79f-4d05-b0dc-a26ea78b597a" providerId="ADAL" clId="{73C04C14-A225-478F-A32C-B622CC39F259}" dt="2025-03-20T06:50:28.786" v="14" actId="478"/>
          <ac:spMkLst>
            <pc:docMk/>
            <pc:sldMk cId="263037846" sldId="2147376480"/>
            <ac:spMk id="4" creationId="{6120231E-5421-AAAA-6015-1B1AF4B570EB}"/>
          </ac:spMkLst>
        </pc:spChg>
      </pc:sldChg>
      <pc:sldChg chg="modSp mod">
        <pc:chgData name="Wang, Xing1 /CN/EXT" userId="e7e3a264-d79f-4d05-b0dc-a26ea78b597a" providerId="ADAL" clId="{73C04C14-A225-478F-A32C-B622CC39F259}" dt="2025-03-20T06:49:38.853" v="7" actId="1076"/>
        <pc:sldMkLst>
          <pc:docMk/>
          <pc:sldMk cId="1358317527" sldId="2147376483"/>
        </pc:sldMkLst>
        <pc:spChg chg="mod">
          <ac:chgData name="Wang, Xing1 /CN/EXT" userId="e7e3a264-d79f-4d05-b0dc-a26ea78b597a" providerId="ADAL" clId="{73C04C14-A225-478F-A32C-B622CC39F259}" dt="2025-03-20T06:49:38.853" v="7" actId="1076"/>
          <ac:spMkLst>
            <pc:docMk/>
            <pc:sldMk cId="1358317527" sldId="2147376483"/>
            <ac:spMk id="41" creationId="{DE64FF06-C6E9-700D-1A2E-44F86A33297A}"/>
          </ac:spMkLst>
        </pc:spChg>
      </pc:sldChg>
      <pc:sldChg chg="del">
        <pc:chgData name="Wang, Xing1 /CN/EXT" userId="e7e3a264-d79f-4d05-b0dc-a26ea78b597a" providerId="ADAL" clId="{73C04C14-A225-478F-A32C-B622CC39F259}" dt="2025-03-20T06:47:57.330" v="0" actId="47"/>
        <pc:sldMkLst>
          <pc:docMk/>
          <pc:sldMk cId="3414150306" sldId="2147376484"/>
        </pc:sldMkLst>
      </pc:sldChg>
      <pc:sldChg chg="add">
        <pc:chgData name="Wang, Xing1 /CN/EXT" userId="e7e3a264-d79f-4d05-b0dc-a26ea78b597a" providerId="ADAL" clId="{73C04C14-A225-478F-A32C-B622CC39F259}" dt="2025-03-20T06:47:59.482" v="1"/>
        <pc:sldMkLst>
          <pc:docMk/>
          <pc:sldMk cId="4213889648" sldId="2147376485"/>
        </pc:sldMkLst>
      </pc:sldChg>
      <pc:sldMasterChg chg="modSp mod modSldLayout">
        <pc:chgData name="Wang, Xing1 /CN/EXT" userId="e7e3a264-d79f-4d05-b0dc-a26ea78b597a" providerId="ADAL" clId="{73C04C14-A225-478F-A32C-B622CC39F259}" dt="2025-03-20T06:48:52.504" v="5" actId="20577"/>
        <pc:sldMasterMkLst>
          <pc:docMk/>
          <pc:sldMasterMk cId="883253381" sldId="2147483733"/>
        </pc:sldMasterMkLst>
        <pc:spChg chg="mod">
          <ac:chgData name="Wang, Xing1 /CN/EXT" userId="e7e3a264-d79f-4d05-b0dc-a26ea78b597a" providerId="ADAL" clId="{73C04C14-A225-478F-A32C-B622CC39F259}" dt="2025-03-20T06:48:19.915" v="3" actId="20577"/>
          <ac:spMkLst>
            <pc:docMk/>
            <pc:sldMasterMk cId="883253381" sldId="2147483733"/>
            <ac:spMk id="6" creationId="{00000000-0000-0000-0000-000000000000}"/>
          </ac:spMkLst>
        </pc:spChg>
        <pc:sldLayoutChg chg="modSp mod">
          <pc:chgData name="Wang, Xing1 /CN/EXT" userId="e7e3a264-d79f-4d05-b0dc-a26ea78b597a" providerId="ADAL" clId="{73C04C14-A225-478F-A32C-B622CC39F259}" dt="2025-03-20T06:48:52.504" v="5" actId="20577"/>
          <pc:sldLayoutMkLst>
            <pc:docMk/>
            <pc:sldMasterMk cId="883253381" sldId="2147483733"/>
            <pc:sldLayoutMk cId="664664590" sldId="2147483794"/>
          </pc:sldLayoutMkLst>
          <pc:spChg chg="mod">
            <ac:chgData name="Wang, Xing1 /CN/EXT" userId="e7e3a264-d79f-4d05-b0dc-a26ea78b597a" providerId="ADAL" clId="{73C04C14-A225-478F-A32C-B622CC39F259}" dt="2025-03-20T06:48:52.504" v="5" actId="20577"/>
            <ac:spMkLst>
              <pc:docMk/>
              <pc:sldMasterMk cId="883253381" sldId="2147483733"/>
              <pc:sldLayoutMk cId="664664590" sldId="2147483794"/>
              <ac:spMk id="5" creationId="{89659C3B-1C96-7E19-100A-508130A3E1BF}"/>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282749060394226"/>
          <c:y val="0"/>
          <c:w val="0.75978857943467981"/>
          <c:h val="0.94756840834849099"/>
        </c:manualLayout>
      </c:layout>
      <c:doughnutChart>
        <c:varyColors val="1"/>
        <c:ser>
          <c:idx val="0"/>
          <c:order val="0"/>
          <c:tx>
            <c:strRef>
              <c:f>Sheet1!$B$1</c:f>
              <c:strCache>
                <c:ptCount val="1"/>
                <c:pt idx="0">
                  <c:v>Sales</c:v>
                </c:pt>
              </c:strCache>
            </c:strRef>
          </c:tx>
          <c:dPt>
            <c:idx val="0"/>
            <c:bubble3D val="0"/>
            <c:spPr>
              <a:solidFill>
                <a:schemeClr val="accent2">
                  <a:shade val="76000"/>
                </a:schemeClr>
              </a:solidFill>
              <a:ln>
                <a:noFill/>
              </a:ln>
              <a:effectLst/>
            </c:spPr>
            <c:extLst>
              <c:ext xmlns:c16="http://schemas.microsoft.com/office/drawing/2014/chart" uri="{C3380CC4-5D6E-409C-BE32-E72D297353CC}">
                <c16:uniqueId val="{00000001-8335-4FCF-AD87-740F6A8C01C0}"/>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03-8335-4FCF-AD87-740F6A8C01C0}"/>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8335-4FCF-AD87-740F6A8C01C0}"/>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3985005C-2437-BCDE-23F0-82CDC01B7300}"/>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8F77741F-4EE6-1371-C8CF-C5A2688DDB06}"/>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60292502-9928-4C85-8C69-EA5E8A108CED}" type="datetimeFigureOut">
              <a:rPr lang="zh-CN" altLang="en-US" smtClean="0"/>
              <a:t>2025/3/27</a:t>
            </a:fld>
            <a:endParaRPr lang="zh-CN" altLang="en-US"/>
          </a:p>
        </p:txBody>
      </p:sp>
      <p:sp>
        <p:nvSpPr>
          <p:cNvPr id="4" name="页脚占位符 3">
            <a:extLst>
              <a:ext uri="{FF2B5EF4-FFF2-40B4-BE49-F238E27FC236}">
                <a16:creationId xmlns:a16="http://schemas.microsoft.com/office/drawing/2014/main" id="{F6FC08DA-90DD-92FA-0565-E68DFC4C2AC8}"/>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B754B369-6301-7001-D23D-7D6D77B71DBF}"/>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3E2C7D04-FD47-4CEC-BF13-7ACF7ECC7569}" type="slidenum">
              <a:rPr lang="zh-CN" altLang="en-US" smtClean="0"/>
              <a:t>‹#›</a:t>
            </a:fld>
            <a:endParaRPr lang="zh-CN" altLang="en-US"/>
          </a:p>
        </p:txBody>
      </p:sp>
    </p:spTree>
    <p:extLst>
      <p:ext uri="{BB962C8B-B14F-4D97-AF65-F5344CB8AC3E}">
        <p14:creationId xmlns:p14="http://schemas.microsoft.com/office/powerpoint/2010/main" val="17944102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396661F8-6642-4EBB-AF72-9C25E789CBD0}" type="datetimeFigureOut">
              <a:rPr lang="fr-FR" smtClean="0"/>
              <a:t>27/03/2025</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33305413-A033-46F4-9347-B29AEA21A678}" type="slidenum">
              <a:rPr lang="fr-FR" smtClean="0"/>
              <a:t>‹#›</a:t>
            </a:fld>
            <a:endParaRPr lang="fr-FR"/>
          </a:p>
        </p:txBody>
      </p:sp>
    </p:spTree>
    <p:extLst>
      <p:ext uri="{BB962C8B-B14F-4D97-AF65-F5344CB8AC3E}">
        <p14:creationId xmlns:p14="http://schemas.microsoft.com/office/powerpoint/2010/main" val="53985028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911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5</a:t>
            </a:fld>
            <a:endParaRPr lang="fr-FR"/>
          </a:p>
        </p:txBody>
      </p:sp>
    </p:spTree>
    <p:extLst>
      <p:ext uri="{BB962C8B-B14F-4D97-AF65-F5344CB8AC3E}">
        <p14:creationId xmlns:p14="http://schemas.microsoft.com/office/powerpoint/2010/main" val="49204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6</a:t>
            </a:fld>
            <a:endParaRPr lang="fr-FR"/>
          </a:p>
        </p:txBody>
      </p:sp>
    </p:spTree>
    <p:extLst>
      <p:ext uri="{BB962C8B-B14F-4D97-AF65-F5344CB8AC3E}">
        <p14:creationId xmlns:p14="http://schemas.microsoft.com/office/powerpoint/2010/main" val="3409296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7</a:t>
            </a:fld>
            <a:endParaRPr lang="fr-FR"/>
          </a:p>
        </p:txBody>
      </p:sp>
    </p:spTree>
    <p:extLst>
      <p:ext uri="{BB962C8B-B14F-4D97-AF65-F5344CB8AC3E}">
        <p14:creationId xmlns:p14="http://schemas.microsoft.com/office/powerpoint/2010/main" val="434548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8</a:t>
            </a:fld>
            <a:endParaRPr lang="fr-FR"/>
          </a:p>
        </p:txBody>
      </p:sp>
    </p:spTree>
    <p:extLst>
      <p:ext uri="{BB962C8B-B14F-4D97-AF65-F5344CB8AC3E}">
        <p14:creationId xmlns:p14="http://schemas.microsoft.com/office/powerpoint/2010/main" val="2365417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9</a:t>
            </a:fld>
            <a:endParaRPr lang="fr-FR"/>
          </a:p>
        </p:txBody>
      </p:sp>
    </p:spTree>
    <p:extLst>
      <p:ext uri="{BB962C8B-B14F-4D97-AF65-F5344CB8AC3E}">
        <p14:creationId xmlns:p14="http://schemas.microsoft.com/office/powerpoint/2010/main" val="260152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0</a:t>
            </a:fld>
            <a:endParaRPr lang="fr-FR"/>
          </a:p>
        </p:txBody>
      </p:sp>
    </p:spTree>
    <p:extLst>
      <p:ext uri="{BB962C8B-B14F-4D97-AF65-F5344CB8AC3E}">
        <p14:creationId xmlns:p14="http://schemas.microsoft.com/office/powerpoint/2010/main" val="2301996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1</a:t>
            </a:fld>
            <a:endParaRPr lang="fr-FR"/>
          </a:p>
        </p:txBody>
      </p:sp>
    </p:spTree>
    <p:extLst>
      <p:ext uri="{BB962C8B-B14F-4D97-AF65-F5344CB8AC3E}">
        <p14:creationId xmlns:p14="http://schemas.microsoft.com/office/powerpoint/2010/main" val="37818448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3</a:t>
            </a:fld>
            <a:endParaRPr lang="fr-FR"/>
          </a:p>
        </p:txBody>
      </p:sp>
    </p:spTree>
    <p:extLst>
      <p:ext uri="{BB962C8B-B14F-4D97-AF65-F5344CB8AC3E}">
        <p14:creationId xmlns:p14="http://schemas.microsoft.com/office/powerpoint/2010/main" val="3578445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4</a:t>
            </a:fld>
            <a:endParaRPr lang="fr-FR"/>
          </a:p>
        </p:txBody>
      </p:sp>
    </p:spTree>
    <p:extLst>
      <p:ext uri="{BB962C8B-B14F-4D97-AF65-F5344CB8AC3E}">
        <p14:creationId xmlns:p14="http://schemas.microsoft.com/office/powerpoint/2010/main" val="1209895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5</a:t>
            </a:fld>
            <a:endParaRPr lang="fr-FR"/>
          </a:p>
        </p:txBody>
      </p:sp>
    </p:spTree>
    <p:extLst>
      <p:ext uri="{BB962C8B-B14F-4D97-AF65-F5344CB8AC3E}">
        <p14:creationId xmlns:p14="http://schemas.microsoft.com/office/powerpoint/2010/main" val="28728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816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6</a:t>
            </a:fld>
            <a:endParaRPr lang="fr-FR"/>
          </a:p>
        </p:txBody>
      </p:sp>
    </p:spTree>
    <p:extLst>
      <p:ext uri="{BB962C8B-B14F-4D97-AF65-F5344CB8AC3E}">
        <p14:creationId xmlns:p14="http://schemas.microsoft.com/office/powerpoint/2010/main" val="2055408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7</a:t>
            </a:fld>
            <a:endParaRPr lang="fr-FR"/>
          </a:p>
        </p:txBody>
      </p:sp>
    </p:spTree>
    <p:extLst>
      <p:ext uri="{BB962C8B-B14F-4D97-AF65-F5344CB8AC3E}">
        <p14:creationId xmlns:p14="http://schemas.microsoft.com/office/powerpoint/2010/main" val="3929941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851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29</a:t>
            </a:fld>
            <a:endParaRPr lang="fr-FR"/>
          </a:p>
        </p:txBody>
      </p:sp>
    </p:spTree>
    <p:extLst>
      <p:ext uri="{BB962C8B-B14F-4D97-AF65-F5344CB8AC3E}">
        <p14:creationId xmlns:p14="http://schemas.microsoft.com/office/powerpoint/2010/main" val="3883762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0</a:t>
            </a:fld>
            <a:endParaRPr lang="fr-FR"/>
          </a:p>
        </p:txBody>
      </p:sp>
    </p:spTree>
    <p:extLst>
      <p:ext uri="{BB962C8B-B14F-4D97-AF65-F5344CB8AC3E}">
        <p14:creationId xmlns:p14="http://schemas.microsoft.com/office/powerpoint/2010/main" val="4184665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1</a:t>
            </a:fld>
            <a:endParaRPr lang="fr-FR"/>
          </a:p>
        </p:txBody>
      </p:sp>
    </p:spTree>
    <p:extLst>
      <p:ext uri="{BB962C8B-B14F-4D97-AF65-F5344CB8AC3E}">
        <p14:creationId xmlns:p14="http://schemas.microsoft.com/office/powerpoint/2010/main" val="6892220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2</a:t>
            </a:fld>
            <a:endParaRPr lang="fr-FR"/>
          </a:p>
        </p:txBody>
      </p:sp>
    </p:spTree>
    <p:extLst>
      <p:ext uri="{BB962C8B-B14F-4D97-AF65-F5344CB8AC3E}">
        <p14:creationId xmlns:p14="http://schemas.microsoft.com/office/powerpoint/2010/main" val="17251800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3</a:t>
            </a:fld>
            <a:endParaRPr lang="fr-FR"/>
          </a:p>
        </p:txBody>
      </p:sp>
    </p:spTree>
    <p:extLst>
      <p:ext uri="{BB962C8B-B14F-4D97-AF65-F5344CB8AC3E}">
        <p14:creationId xmlns:p14="http://schemas.microsoft.com/office/powerpoint/2010/main" val="11455402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4</a:t>
            </a:fld>
            <a:endParaRPr lang="fr-FR"/>
          </a:p>
        </p:txBody>
      </p:sp>
    </p:spTree>
    <p:extLst>
      <p:ext uri="{BB962C8B-B14F-4D97-AF65-F5344CB8AC3E}">
        <p14:creationId xmlns:p14="http://schemas.microsoft.com/office/powerpoint/2010/main" val="3903581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35</a:t>
            </a:fld>
            <a:endParaRPr lang="fr-FR" dirty="0"/>
          </a:p>
        </p:txBody>
      </p:sp>
    </p:spTree>
    <p:extLst>
      <p:ext uri="{BB962C8B-B14F-4D97-AF65-F5344CB8AC3E}">
        <p14:creationId xmlns:p14="http://schemas.microsoft.com/office/powerpoint/2010/main" val="1866617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1587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3305413-A033-46F4-9347-B29AEA21A678}" type="slidenum">
              <a:rPr lang="fr-FR" smtClean="0"/>
              <a:t>36</a:t>
            </a:fld>
            <a:endParaRPr lang="fr-FR" dirty="0"/>
          </a:p>
        </p:txBody>
      </p:sp>
    </p:spTree>
    <p:extLst>
      <p:ext uri="{BB962C8B-B14F-4D97-AF65-F5344CB8AC3E}">
        <p14:creationId xmlns:p14="http://schemas.microsoft.com/office/powerpoint/2010/main" val="1673343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2667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313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042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626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05413-A033-46F4-9347-B29AEA21A6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991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3305413-A033-46F4-9347-B29AEA21A678}" type="slidenum">
              <a:rPr lang="fr-FR" smtClean="0"/>
              <a:t>14</a:t>
            </a:fld>
            <a:endParaRPr lang="fr-FR"/>
          </a:p>
        </p:txBody>
      </p:sp>
    </p:spTree>
    <p:extLst>
      <p:ext uri="{BB962C8B-B14F-4D97-AF65-F5344CB8AC3E}">
        <p14:creationId xmlns:p14="http://schemas.microsoft.com/office/powerpoint/2010/main" val="3499251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ltLang="zh-CN"/>
              <a:t>28 . Mar . 2025</a:t>
            </a:r>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47778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Title (Dark)">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58" y="495102"/>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ltLang="zh-CN"/>
              <a:t>28 . Mar . 2025</a:t>
            </a:r>
            <a:endParaRPr lang="en-US" dirty="0"/>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40979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en-US" altLang="zh-CN"/>
              <a:t>28 . Mar . 2025</a:t>
            </a:r>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0" y="516684"/>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dirty="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dirty="0"/>
              <a:t>Click icon to add picture</a:t>
            </a:r>
            <a:endParaRPr lang="fr-FR" dirty="0"/>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4144613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ltLang="zh-CN"/>
              <a:t>28 . Mar . 2025</a:t>
            </a:r>
            <a:endParaRPr lang="en-US"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0" y="43846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dirty="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dirty="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dirty="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dirty="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dirty="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hasCustomPrompt="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Title1</a:t>
            </a:r>
          </a:p>
          <a:p>
            <a:pPr lvl="0"/>
            <a:endParaRPr lang="fr-F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hasCustomPrompt="1"/>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Title2</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hasCustomPrompt="1"/>
          </p:nvPr>
        </p:nvSpPr>
        <p:spPr>
          <a:xfrm>
            <a:off x="6783430" y="4394467"/>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err="1"/>
              <a:t>Title</a:t>
            </a:r>
            <a:r>
              <a:rPr lang="fr-FR"/>
              <a:t> 3</a:t>
            </a:r>
          </a:p>
        </p:txBody>
      </p:sp>
    </p:spTree>
    <p:extLst>
      <p:ext uri="{BB962C8B-B14F-4D97-AF65-F5344CB8AC3E}">
        <p14:creationId xmlns:p14="http://schemas.microsoft.com/office/powerpoint/2010/main" val="1796754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with Visual">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dirty="0"/>
              <a:t>Click icon to add picture</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dirty="0"/>
              <a:t>Click icon to add SmartArt graphic</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fr-FR"/>
              <a:t>1</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en-US"/>
              <a:t>Click to edit Master title style</a:t>
            </a:r>
          </a:p>
        </p:txBody>
      </p:sp>
    </p:spTree>
    <p:extLst>
      <p:ext uri="{BB962C8B-B14F-4D97-AF65-F5344CB8AC3E}">
        <p14:creationId xmlns:p14="http://schemas.microsoft.com/office/powerpoint/2010/main" val="143745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Large">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1</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47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23395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 (Dark)">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500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over Image">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66347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fr-FR"/>
              <a:t>1</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70668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7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46741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en-US"/>
              <a:t>Click to edit Master title style</a:t>
            </a:r>
          </a:p>
        </p:txBody>
      </p:sp>
    </p:spTree>
    <p:extLst>
      <p:ext uri="{BB962C8B-B14F-4D97-AF65-F5344CB8AC3E}">
        <p14:creationId xmlns:p14="http://schemas.microsoft.com/office/powerpoint/2010/main" val="196064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en-US"/>
              <a:t>Click to edit Master title style</a:t>
            </a:r>
          </a:p>
        </p:txBody>
      </p:sp>
    </p:spTree>
    <p:extLst>
      <p:ext uri="{BB962C8B-B14F-4D97-AF65-F5344CB8AC3E}">
        <p14:creationId xmlns:p14="http://schemas.microsoft.com/office/powerpoint/2010/main" val="238464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13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492443"/>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72672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45708"/>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60690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en-US"/>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976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13773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50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64800"/>
            <a:ext cx="11226800" cy="517064"/>
          </a:xfrm>
        </p:spPr>
        <p:txBody>
          <a:bodyPr/>
          <a:lstStyle>
            <a:lvl1pPr>
              <a:defRPr/>
            </a:lvl1pPr>
          </a:lstStyle>
          <a:p>
            <a:r>
              <a:rPr lang="fr-FR"/>
              <a:t>Slide texte - 1 colonne, corps 28</a:t>
            </a:r>
            <a:endParaRPr lang="en-US"/>
          </a:p>
        </p:txBody>
      </p:sp>
      <p:sp>
        <p:nvSpPr>
          <p:cNvPr id="8" name="Content Placeholder 2"/>
          <p:cNvSpPr>
            <a:spLocks noGrp="1"/>
          </p:cNvSpPr>
          <p:nvPr>
            <p:ph idx="13" hasCustomPrompt="1"/>
          </p:nvPr>
        </p:nvSpPr>
        <p:spPr>
          <a:xfrm>
            <a:off x="478366" y="1777407"/>
            <a:ext cx="11226801" cy="4483693"/>
          </a:xfrm>
        </p:spPr>
        <p:txBody>
          <a:bodyPr/>
          <a:lstStyle>
            <a:lvl1pPr>
              <a:defRPr baseline="0"/>
            </a:lvl1pPr>
            <a:lvl3pPr marL="537620" indent="-177796">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Tree>
    <p:extLst>
      <p:ext uri="{BB962C8B-B14F-4D97-AF65-F5344CB8AC3E}">
        <p14:creationId xmlns:p14="http://schemas.microsoft.com/office/powerpoint/2010/main" val="428338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u Fond clair">
    <p:spTree>
      <p:nvGrpSpPr>
        <p:cNvPr id="1" name=""/>
        <p:cNvGrpSpPr/>
        <p:nvPr/>
      </p:nvGrpSpPr>
      <p:grpSpPr>
        <a:xfrm>
          <a:off x="0" y="0"/>
          <a:ext cx="0" cy="0"/>
          <a:chOff x="0" y="0"/>
          <a:chExt cx="0" cy="0"/>
        </a:xfrm>
      </p:grpSpPr>
      <p:sp>
        <p:nvSpPr>
          <p:cNvPr id="7" name="Rectangle 6"/>
          <p:cNvSpPr/>
          <p:nvPr userDrawn="1"/>
        </p:nvSpPr>
        <p:spPr>
          <a:xfrm>
            <a:off x="478366" y="1656139"/>
            <a:ext cx="11226801" cy="460496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le 1"/>
          <p:cNvSpPr>
            <a:spLocks noGrp="1"/>
          </p:cNvSpPr>
          <p:nvPr>
            <p:ph type="title" hasCustomPrompt="1"/>
          </p:nvPr>
        </p:nvSpPr>
        <p:spPr>
          <a:xfrm>
            <a:off x="480001" y="364800"/>
            <a:ext cx="11225167" cy="517064"/>
          </a:xfrm>
        </p:spPr>
        <p:txBody>
          <a:bodyPr/>
          <a:lstStyle>
            <a:lvl1pPr>
              <a:defRPr/>
            </a:lvl1pPr>
          </a:lstStyle>
          <a:p>
            <a:r>
              <a:rPr lang="fr-FR"/>
              <a:t>Slide texte - 1 colonne, corps 28</a:t>
            </a:r>
            <a:endParaRPr lang="en-US"/>
          </a:p>
        </p:txBody>
      </p:sp>
      <p:sp>
        <p:nvSpPr>
          <p:cNvPr id="8" name="Content Placeholder 2"/>
          <p:cNvSpPr>
            <a:spLocks noGrp="1"/>
          </p:cNvSpPr>
          <p:nvPr>
            <p:ph idx="13" hasCustomPrompt="1"/>
          </p:nvPr>
        </p:nvSpPr>
        <p:spPr>
          <a:xfrm>
            <a:off x="673400" y="1820334"/>
            <a:ext cx="10781409" cy="4166193"/>
          </a:xfrm>
        </p:spPr>
        <p:txBody>
          <a:bodyPr/>
          <a:lstStyle>
            <a:lvl1pPr>
              <a:defRPr baseline="0"/>
            </a:lvl1pPr>
            <a:lvl2pPr marL="361942" indent="-182029">
              <a:tabLst/>
              <a:defRPr/>
            </a:lvl2pPr>
            <a:lvl3pPr marL="514338" indent="-175680">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Tree>
    <p:extLst>
      <p:ext uri="{BB962C8B-B14F-4D97-AF65-F5344CB8AC3E}">
        <p14:creationId xmlns:p14="http://schemas.microsoft.com/office/powerpoint/2010/main" val="320623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0.Cover_Back">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pic>
        <p:nvPicPr>
          <p:cNvPr id="14" name="Graphique 13">
            <a:extLst>
              <a:ext uri="{FF2B5EF4-FFF2-40B4-BE49-F238E27FC236}">
                <a16:creationId xmlns:a16="http://schemas.microsoft.com/office/drawing/2014/main" id="{04203E6E-75E4-45E4-AF05-51E86DA0080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8571" y="6035600"/>
            <a:ext cx="994856" cy="254848"/>
          </a:xfrm>
          <a:prstGeom prst="rect">
            <a:avLst/>
          </a:prstGeom>
        </p:spPr>
      </p:pic>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dirty="0"/>
              <a:t>Click icon to add SmartArt graphic</a:t>
            </a:r>
          </a:p>
        </p:txBody>
      </p:sp>
    </p:spTree>
    <p:extLst>
      <p:ext uri="{BB962C8B-B14F-4D97-AF65-F5344CB8AC3E}">
        <p14:creationId xmlns:p14="http://schemas.microsoft.com/office/powerpoint/2010/main" val="23186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01" y="364800"/>
            <a:ext cx="11225167" cy="517064"/>
          </a:xfrm>
        </p:spPr>
        <p:txBody>
          <a:bodyPr/>
          <a:lstStyle>
            <a:lvl1pPr>
              <a:defRPr/>
            </a:lvl1pPr>
          </a:lstStyle>
          <a:p>
            <a:r>
              <a:rPr lang="fr-FR"/>
              <a:t>Slide texte - 1 photo, corps 28</a:t>
            </a:r>
            <a:endParaRPr lang="en-US"/>
          </a:p>
        </p:txBody>
      </p:sp>
      <p:sp>
        <p:nvSpPr>
          <p:cNvPr id="8" name="Content Placeholder 2"/>
          <p:cNvSpPr>
            <a:spLocks noGrp="1"/>
          </p:cNvSpPr>
          <p:nvPr>
            <p:ph idx="13" hasCustomPrompt="1"/>
          </p:nvPr>
        </p:nvSpPr>
        <p:spPr>
          <a:xfrm>
            <a:off x="478366" y="1777407"/>
            <a:ext cx="5252604" cy="4483693"/>
          </a:xfrm>
        </p:spPr>
        <p:txBody>
          <a:bodyPr/>
          <a:lstStyle>
            <a:lvl1pPr>
              <a:defRPr baseline="0"/>
            </a:lvl1pPr>
            <a:lvl3pPr marL="537620" indent="-177796">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
        <p:nvSpPr>
          <p:cNvPr id="7" name="Espace réservé pour une image  6"/>
          <p:cNvSpPr>
            <a:spLocks noGrp="1"/>
          </p:cNvSpPr>
          <p:nvPr>
            <p:ph type="pic" sz="quarter" idx="18"/>
          </p:nvPr>
        </p:nvSpPr>
        <p:spPr>
          <a:xfrm>
            <a:off x="6096001" y="1316568"/>
            <a:ext cx="5609167" cy="4944533"/>
          </a:xfrm>
        </p:spPr>
        <p:txBody>
          <a:bodyPr/>
          <a:lstStyle/>
          <a:p>
            <a:r>
              <a:rPr lang="en-US"/>
              <a:t>Click icon to add picture</a:t>
            </a:r>
            <a:endParaRPr lang="fr-FR"/>
          </a:p>
        </p:txBody>
      </p:sp>
    </p:spTree>
    <p:extLst>
      <p:ext uri="{BB962C8B-B14F-4D97-AF65-F5344CB8AC3E}">
        <p14:creationId xmlns:p14="http://schemas.microsoft.com/office/powerpoint/2010/main" val="194685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2" y="2709335"/>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pic>
        <p:nvPicPr>
          <p:cNvPr id="6" name="Image 5">
            <a:extLst>
              <a:ext uri="{FF2B5EF4-FFF2-40B4-BE49-F238E27FC236}">
                <a16:creationId xmlns:a16="http://schemas.microsoft.com/office/drawing/2014/main" id="{2FE1BD38-CEE0-41C9-9679-409B4EB488D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l="13386" t="39681" r="11410" b="32962"/>
          <a:stretch/>
        </p:blipFill>
        <p:spPr>
          <a:xfrm>
            <a:off x="4216400" y="4148666"/>
            <a:ext cx="3860800" cy="1168804"/>
          </a:xfrm>
          <a:prstGeom prst="rect">
            <a:avLst/>
          </a:prstGeom>
        </p:spPr>
      </p:pic>
    </p:spTree>
    <p:extLst>
      <p:ext uri="{BB962C8B-B14F-4D97-AF65-F5344CB8AC3E}">
        <p14:creationId xmlns:p14="http://schemas.microsoft.com/office/powerpoint/2010/main" val="402805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142506" y="2817223"/>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82040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17" y="473773"/>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357" y="6312961"/>
            <a:ext cx="2743200" cy="366183"/>
          </a:xfrm>
        </p:spPr>
        <p:txBody>
          <a:bodyPr/>
          <a:lstStyle/>
          <a:p>
            <a:r>
              <a:rPr lang="en-US" altLang="zh-CN" noProof="0"/>
              <a:t>28 . Mar . 2025</a:t>
            </a:r>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241468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346097" y="6312961"/>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357" y="6312961"/>
            <a:ext cx="2743200" cy="366183"/>
          </a:xfrm>
        </p:spPr>
        <p:txBody>
          <a:bodyPr/>
          <a:lstStyle/>
          <a:p>
            <a:r>
              <a:rPr lang="en-US" altLang="zh-CN" noProof="0"/>
              <a:t>28 . Mar . 2025</a:t>
            </a:r>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230572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58" y="495102"/>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ltLang="zh-CN"/>
              <a:t>28 . Mar . 2025</a:t>
            </a:r>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98873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en-US" altLang="zh-CN"/>
              <a:t>28 . Mar . 2025</a:t>
            </a:r>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0" y="516684"/>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21384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ltLang="zh-CN"/>
              <a:t>28 . Mar . 2025</a:t>
            </a:r>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0" y="43846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hasCustomPrompt="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Title1</a:t>
            </a:r>
          </a:p>
          <a:p>
            <a:pPr lvl="0"/>
            <a:endParaRPr lang="fr-F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hasCustomPrompt="1"/>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Title2</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hasCustomPrompt="1"/>
          </p:nvPr>
        </p:nvSpPr>
        <p:spPr>
          <a:xfrm>
            <a:off x="6783430" y="4394467"/>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err="1"/>
              <a:t>Title</a:t>
            </a:r>
            <a:r>
              <a:rPr lang="fr-FR"/>
              <a:t> 3</a:t>
            </a:r>
          </a:p>
        </p:txBody>
      </p:sp>
    </p:spTree>
    <p:extLst>
      <p:ext uri="{BB962C8B-B14F-4D97-AF65-F5344CB8AC3E}">
        <p14:creationId xmlns:p14="http://schemas.microsoft.com/office/powerpoint/2010/main" val="25534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fr-FR"/>
              <a:t>1</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en-US"/>
              <a:t>Click to edit Master title style</a:t>
            </a:r>
          </a:p>
        </p:txBody>
      </p:sp>
    </p:spTree>
    <p:extLst>
      <p:ext uri="{BB962C8B-B14F-4D97-AF65-F5344CB8AC3E}">
        <p14:creationId xmlns:p14="http://schemas.microsoft.com/office/powerpoint/2010/main" val="113751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1</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905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60012"/>
            <a:ext cx="11226800" cy="526640"/>
          </a:xfrm>
        </p:spPr>
        <p:txBody>
          <a:bodyPr/>
          <a:lstStyle>
            <a:lvl1pPr>
              <a:defRPr/>
            </a:lvl1pPr>
          </a:lstStyle>
          <a:p>
            <a:r>
              <a:rPr lang="en-US" noProof="0"/>
              <a:t>Text slide - 1 column, 28 </a:t>
            </a:r>
            <a:r>
              <a:rPr lang="en-US" noProof="0" err="1"/>
              <a:t>pts</a:t>
            </a:r>
            <a:endParaRPr lang="en-US" noProof="0"/>
          </a:p>
        </p:txBody>
      </p:sp>
      <p:sp>
        <p:nvSpPr>
          <p:cNvPr id="8" name="Content Placeholder 2"/>
          <p:cNvSpPr>
            <a:spLocks noGrp="1"/>
          </p:cNvSpPr>
          <p:nvPr>
            <p:ph idx="13" hasCustomPrompt="1"/>
          </p:nvPr>
        </p:nvSpPr>
        <p:spPr>
          <a:xfrm>
            <a:off x="478366" y="1777407"/>
            <a:ext cx="11226801" cy="4483693"/>
          </a:xfrm>
        </p:spPr>
        <p:txBody>
          <a:bodyPr/>
          <a:lstStyle>
            <a:lvl1pPr>
              <a:defRPr baseline="0"/>
            </a:lvl1pPr>
            <a:lvl3pPr marL="537620" indent="-177796">
              <a:buFont typeface="Arial" charset="0"/>
              <a:buChar char="•"/>
              <a:tabLst/>
              <a:defRPr/>
            </a:lvl3pPr>
          </a:lstStyle>
          <a:p>
            <a:pPr lvl="0"/>
            <a:r>
              <a:rPr lang="en-US" noProof="0"/>
              <a:t>Text 1st level, 18 </a:t>
            </a:r>
            <a:r>
              <a:rPr lang="en-US" noProof="0" err="1"/>
              <a:t>pts</a:t>
            </a:r>
            <a:endParaRPr lang="en-US" noProof="0"/>
          </a:p>
          <a:p>
            <a:pPr lvl="1"/>
            <a:r>
              <a:rPr lang="en-US" noProof="0"/>
              <a:t>Text 2nd level, 16 </a:t>
            </a:r>
            <a:r>
              <a:rPr lang="en-US" noProof="0" err="1"/>
              <a:t>pts</a:t>
            </a:r>
            <a:endParaRPr lang="en-US" noProof="0"/>
          </a:p>
          <a:p>
            <a:pPr lvl="2"/>
            <a:r>
              <a:rPr lang="en-US" noProof="0"/>
              <a:t>Text 3rd level, 14 </a:t>
            </a:r>
            <a:r>
              <a:rPr lang="en-US" noProof="0" err="1"/>
              <a:t>pts</a:t>
            </a:r>
            <a:endParaRPr lang="en-US" noProof="0"/>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a:t>Subtitle, 22 </a:t>
            </a:r>
            <a:r>
              <a:rPr lang="en-US" noProof="0" err="1"/>
              <a:t>pts</a:t>
            </a:r>
            <a:endParaRPr lang="en-US" noProof="0"/>
          </a:p>
        </p:txBody>
      </p:sp>
    </p:spTree>
    <p:extLst>
      <p:ext uri="{BB962C8B-B14F-4D97-AF65-F5344CB8AC3E}">
        <p14:creationId xmlns:p14="http://schemas.microsoft.com/office/powerpoint/2010/main" val="3106102152"/>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4061161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48347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66163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fr-FR"/>
              <a:t>1</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24264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503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en-US"/>
              <a:t>Click to edit Master title style</a:t>
            </a:r>
          </a:p>
        </p:txBody>
      </p:sp>
    </p:spTree>
    <p:extLst>
      <p:ext uri="{BB962C8B-B14F-4D97-AF65-F5344CB8AC3E}">
        <p14:creationId xmlns:p14="http://schemas.microsoft.com/office/powerpoint/2010/main" val="328164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en-US"/>
              <a:t>Click to edit Master title style</a:t>
            </a:r>
          </a:p>
        </p:txBody>
      </p:sp>
    </p:spTree>
    <p:extLst>
      <p:ext uri="{BB962C8B-B14F-4D97-AF65-F5344CB8AC3E}">
        <p14:creationId xmlns:p14="http://schemas.microsoft.com/office/powerpoint/2010/main" val="155073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493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492443"/>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54060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45708"/>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43313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25E41B42-A54D-4AA4-2085-666E13915EC2}"/>
              </a:ext>
            </a:extLst>
          </p:cNvPr>
          <p:cNvSpPr>
            <a:spLocks noGrp="1"/>
          </p:cNvSpPr>
          <p:nvPr>
            <p:ph type="ftr" sz="quarter" idx="10"/>
          </p:nvPr>
        </p:nvSpPr>
        <p:spPr/>
        <p:txBody>
          <a:bodyPr/>
          <a:lstStyle/>
          <a:p>
            <a:r>
              <a:rPr lang="en-US" noProof="0" dirty="0"/>
              <a:t>1</a:t>
            </a:r>
          </a:p>
        </p:txBody>
      </p:sp>
      <p:sp>
        <p:nvSpPr>
          <p:cNvPr id="4" name="日期占位符 3">
            <a:extLst>
              <a:ext uri="{FF2B5EF4-FFF2-40B4-BE49-F238E27FC236}">
                <a16:creationId xmlns:a16="http://schemas.microsoft.com/office/drawing/2014/main" id="{3DF47E67-9FEC-30F3-6C48-A646676F5569}"/>
              </a:ext>
            </a:extLst>
          </p:cNvPr>
          <p:cNvSpPr>
            <a:spLocks noGrp="1"/>
          </p:cNvSpPr>
          <p:nvPr>
            <p:ph type="dt" sz="half" idx="11"/>
          </p:nvPr>
        </p:nvSpPr>
        <p:spPr/>
        <p:txBody>
          <a:bodyPr/>
          <a:lstStyle/>
          <a:p>
            <a:r>
              <a:rPr lang="en-US" altLang="zh-CN" noProof="0"/>
              <a:t>28 . Mar . 2025</a:t>
            </a:r>
            <a:endParaRPr lang="en-US" noProof="0" dirty="0"/>
          </a:p>
        </p:txBody>
      </p:sp>
      <p:sp>
        <p:nvSpPr>
          <p:cNvPr id="5" name="灯片编号占位符 4">
            <a:extLst>
              <a:ext uri="{FF2B5EF4-FFF2-40B4-BE49-F238E27FC236}">
                <a16:creationId xmlns:a16="http://schemas.microsoft.com/office/drawing/2014/main" id="{89659C3B-1C96-7E19-100A-508130A3E1BF}"/>
              </a:ext>
            </a:extLst>
          </p:cNvPr>
          <p:cNvSpPr>
            <a:spLocks noGrp="1"/>
          </p:cNvSpPr>
          <p:nvPr>
            <p:ph type="sldNum" sz="quarter" idx="12"/>
          </p:nvPr>
        </p:nvSpPr>
        <p:spPr/>
        <p:txBody>
          <a:bodyPr/>
          <a:lstStyle/>
          <a:p>
            <a:fld id="{6B54B0F7-55DD-40D6-B7F4-70B586885C0B}" type="slidenum">
              <a:rPr lang="en-US" smtClean="0"/>
              <a:pPr/>
              <a:t>‹#›</a:t>
            </a:fld>
            <a:r>
              <a:rPr lang="en-US" dirty="0"/>
              <a:t>/37</a:t>
            </a:r>
            <a:endParaRPr lang="en-US" noProof="0" dirty="0"/>
          </a:p>
        </p:txBody>
      </p:sp>
    </p:spTree>
    <p:extLst>
      <p:ext uri="{BB962C8B-B14F-4D97-AF65-F5344CB8AC3E}">
        <p14:creationId xmlns:p14="http://schemas.microsoft.com/office/powerpoint/2010/main" val="66466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1</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en-US"/>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53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80836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76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64800"/>
            <a:ext cx="11226800" cy="517064"/>
          </a:xfrm>
        </p:spPr>
        <p:txBody>
          <a:bodyPr/>
          <a:lstStyle>
            <a:lvl1pPr>
              <a:defRPr/>
            </a:lvl1pPr>
          </a:lstStyle>
          <a:p>
            <a:r>
              <a:rPr lang="fr-FR"/>
              <a:t>Slide texte - 1 colonne, corps 28</a:t>
            </a:r>
            <a:endParaRPr lang="en-US"/>
          </a:p>
        </p:txBody>
      </p:sp>
      <p:sp>
        <p:nvSpPr>
          <p:cNvPr id="8" name="Content Placeholder 2"/>
          <p:cNvSpPr>
            <a:spLocks noGrp="1"/>
          </p:cNvSpPr>
          <p:nvPr>
            <p:ph idx="13" hasCustomPrompt="1"/>
          </p:nvPr>
        </p:nvSpPr>
        <p:spPr>
          <a:xfrm>
            <a:off x="478366" y="1777407"/>
            <a:ext cx="11226801" cy="4483693"/>
          </a:xfrm>
        </p:spPr>
        <p:txBody>
          <a:bodyPr/>
          <a:lstStyle>
            <a:lvl1pPr>
              <a:defRPr baseline="0"/>
            </a:lvl1pPr>
            <a:lvl3pPr marL="537620" indent="-177796">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Tree>
    <p:extLst>
      <p:ext uri="{BB962C8B-B14F-4D97-AF65-F5344CB8AC3E}">
        <p14:creationId xmlns:p14="http://schemas.microsoft.com/office/powerpoint/2010/main" val="278748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u Fond clair">
    <p:spTree>
      <p:nvGrpSpPr>
        <p:cNvPr id="1" name=""/>
        <p:cNvGrpSpPr/>
        <p:nvPr/>
      </p:nvGrpSpPr>
      <p:grpSpPr>
        <a:xfrm>
          <a:off x="0" y="0"/>
          <a:ext cx="0" cy="0"/>
          <a:chOff x="0" y="0"/>
          <a:chExt cx="0" cy="0"/>
        </a:xfrm>
      </p:grpSpPr>
      <p:sp>
        <p:nvSpPr>
          <p:cNvPr id="7" name="Rectangle 6"/>
          <p:cNvSpPr/>
          <p:nvPr userDrawn="1"/>
        </p:nvSpPr>
        <p:spPr>
          <a:xfrm>
            <a:off x="478366" y="1656139"/>
            <a:ext cx="11226801" cy="460496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le 1"/>
          <p:cNvSpPr>
            <a:spLocks noGrp="1"/>
          </p:cNvSpPr>
          <p:nvPr>
            <p:ph type="title" hasCustomPrompt="1"/>
          </p:nvPr>
        </p:nvSpPr>
        <p:spPr>
          <a:xfrm>
            <a:off x="480001" y="364800"/>
            <a:ext cx="11225167" cy="517064"/>
          </a:xfrm>
        </p:spPr>
        <p:txBody>
          <a:bodyPr/>
          <a:lstStyle>
            <a:lvl1pPr>
              <a:defRPr/>
            </a:lvl1pPr>
          </a:lstStyle>
          <a:p>
            <a:r>
              <a:rPr lang="fr-FR"/>
              <a:t>Slide texte - 1 colonne, corps 28</a:t>
            </a:r>
            <a:endParaRPr lang="en-US"/>
          </a:p>
        </p:txBody>
      </p:sp>
      <p:sp>
        <p:nvSpPr>
          <p:cNvPr id="8" name="Content Placeholder 2"/>
          <p:cNvSpPr>
            <a:spLocks noGrp="1"/>
          </p:cNvSpPr>
          <p:nvPr>
            <p:ph idx="13" hasCustomPrompt="1"/>
          </p:nvPr>
        </p:nvSpPr>
        <p:spPr>
          <a:xfrm>
            <a:off x="673400" y="1820334"/>
            <a:ext cx="10781409" cy="4166193"/>
          </a:xfrm>
        </p:spPr>
        <p:txBody>
          <a:bodyPr/>
          <a:lstStyle>
            <a:lvl1pPr>
              <a:defRPr baseline="0"/>
            </a:lvl1pPr>
            <a:lvl2pPr marL="361942" indent="-182029">
              <a:tabLst/>
              <a:defRPr/>
            </a:lvl2pPr>
            <a:lvl3pPr marL="514338" indent="-175680">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Tree>
    <p:extLst>
      <p:ext uri="{BB962C8B-B14F-4D97-AF65-F5344CB8AC3E}">
        <p14:creationId xmlns:p14="http://schemas.microsoft.com/office/powerpoint/2010/main" val="408844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01" y="364800"/>
            <a:ext cx="11225167" cy="517064"/>
          </a:xfrm>
        </p:spPr>
        <p:txBody>
          <a:bodyPr/>
          <a:lstStyle>
            <a:lvl1pPr>
              <a:defRPr/>
            </a:lvl1pPr>
          </a:lstStyle>
          <a:p>
            <a:r>
              <a:rPr lang="fr-FR"/>
              <a:t>Slide texte - 1 photo, corps 28</a:t>
            </a:r>
            <a:endParaRPr lang="en-US"/>
          </a:p>
        </p:txBody>
      </p:sp>
      <p:sp>
        <p:nvSpPr>
          <p:cNvPr id="8" name="Content Placeholder 2"/>
          <p:cNvSpPr>
            <a:spLocks noGrp="1"/>
          </p:cNvSpPr>
          <p:nvPr>
            <p:ph idx="13" hasCustomPrompt="1"/>
          </p:nvPr>
        </p:nvSpPr>
        <p:spPr>
          <a:xfrm>
            <a:off x="478366" y="1777407"/>
            <a:ext cx="5252604" cy="4483693"/>
          </a:xfrm>
        </p:spPr>
        <p:txBody>
          <a:bodyPr/>
          <a:lstStyle>
            <a:lvl1pPr>
              <a:defRPr baseline="0"/>
            </a:lvl1pPr>
            <a:lvl3pPr marL="537620" indent="-177796">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4" name="Espace réservé de la date 23"/>
          <p:cNvSpPr>
            <a:spLocks noGrp="1"/>
          </p:cNvSpPr>
          <p:nvPr>
            <p:ph type="dt" sz="half" idx="14"/>
          </p:nvPr>
        </p:nvSpPr>
        <p:spPr/>
        <p:txBody>
          <a:bodyPr/>
          <a:lstStyle/>
          <a:p>
            <a:r>
              <a:rPr lang="en-US" altLang="zh-CN"/>
              <a:t>28 . Mar . 2025</a:t>
            </a:r>
            <a:endParaRPr lang="fr-FR"/>
          </a:p>
        </p:txBody>
      </p:sp>
      <p:sp>
        <p:nvSpPr>
          <p:cNvPr id="25" name="Espace réservé du pied de page 24"/>
          <p:cNvSpPr>
            <a:spLocks noGrp="1"/>
          </p:cNvSpPr>
          <p:nvPr>
            <p:ph type="ftr" sz="quarter" idx="15"/>
          </p:nvPr>
        </p:nvSpPr>
        <p:spPr/>
        <p:txBody>
          <a:bodyPr/>
          <a:lstStyle/>
          <a:p>
            <a:r>
              <a:rPr lang="fr-FR"/>
              <a:t>1</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
        <p:nvSpPr>
          <p:cNvPr id="7" name="Espace réservé pour une image  6"/>
          <p:cNvSpPr>
            <a:spLocks noGrp="1"/>
          </p:cNvSpPr>
          <p:nvPr>
            <p:ph type="pic" sz="quarter" idx="18"/>
          </p:nvPr>
        </p:nvSpPr>
        <p:spPr>
          <a:xfrm>
            <a:off x="6096001" y="1316568"/>
            <a:ext cx="5609167" cy="4944533"/>
          </a:xfrm>
        </p:spPr>
        <p:txBody>
          <a:bodyPr/>
          <a:lstStyle/>
          <a:p>
            <a:r>
              <a:rPr lang="en-US"/>
              <a:t>Click icon to add picture</a:t>
            </a:r>
            <a:endParaRPr lang="fr-FR"/>
          </a:p>
        </p:txBody>
      </p:sp>
    </p:spTree>
    <p:extLst>
      <p:ext uri="{BB962C8B-B14F-4D97-AF65-F5344CB8AC3E}">
        <p14:creationId xmlns:p14="http://schemas.microsoft.com/office/powerpoint/2010/main" val="73161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2" y="2709335"/>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dirty="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dirty="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dirty="0"/>
            </a:p>
          </p:txBody>
        </p:sp>
      </p:grpSp>
      <p:pic>
        <p:nvPicPr>
          <p:cNvPr id="6" name="Image 5">
            <a:extLst>
              <a:ext uri="{FF2B5EF4-FFF2-40B4-BE49-F238E27FC236}">
                <a16:creationId xmlns:a16="http://schemas.microsoft.com/office/drawing/2014/main" id="{2FE1BD38-CEE0-41C9-9679-409B4EB488D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l="13386" t="39681" r="11410" b="32962"/>
          <a:stretch/>
        </p:blipFill>
        <p:spPr>
          <a:xfrm>
            <a:off x="4216400" y="4148666"/>
            <a:ext cx="3860800" cy="1168804"/>
          </a:xfrm>
          <a:prstGeom prst="rect">
            <a:avLst/>
          </a:prstGeom>
        </p:spPr>
      </p:pic>
    </p:spTree>
    <p:extLst>
      <p:ext uri="{BB962C8B-B14F-4D97-AF65-F5344CB8AC3E}">
        <p14:creationId xmlns:p14="http://schemas.microsoft.com/office/powerpoint/2010/main" val="147633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Logo (Dark)">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142506" y="2817223"/>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dirty="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dirty="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dirty="0"/>
            </a:p>
          </p:txBody>
        </p:sp>
      </p:grpSp>
    </p:spTree>
    <p:extLst>
      <p:ext uri="{BB962C8B-B14F-4D97-AF65-F5344CB8AC3E}">
        <p14:creationId xmlns:p14="http://schemas.microsoft.com/office/powerpoint/2010/main" val="57648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17" y="473773"/>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357" y="6312961"/>
            <a:ext cx="2743200" cy="366183"/>
          </a:xfrm>
        </p:spPr>
        <p:txBody>
          <a:bodyPr/>
          <a:lstStyle/>
          <a:p>
            <a:r>
              <a:rPr lang="en-US" altLang="zh-CN" noProof="0"/>
              <a:t>28 . Mar . 2025</a:t>
            </a:r>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8840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dirty="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346097" y="6312961"/>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dirty="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dirty="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dirty="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357" y="6312961"/>
            <a:ext cx="2743200" cy="366183"/>
          </a:xfrm>
        </p:spPr>
        <p:txBody>
          <a:bodyPr/>
          <a:lstStyle/>
          <a:p>
            <a:r>
              <a:rPr lang="en-US" altLang="zh-CN" noProof="0"/>
              <a:t>28 . Mar . 2025</a:t>
            </a:r>
            <a:endParaRPr lang="en-US" noProof="0" dirty="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13802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theme" Target="../theme/theme3.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1</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ltLang="zh-CN" noProof="0"/>
              <a:t>28 . Mar . 2025</a:t>
            </a:r>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r>
              <a:rPr lang="en-US" dirty="0"/>
              <a:t>/37</a:t>
            </a:r>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dirty="0"/>
            </a:p>
          </p:txBody>
        </p:sp>
      </p:grpSp>
      <p:sp>
        <p:nvSpPr>
          <p:cNvPr id="7" name="TextBox 6">
            <a:extLst>
              <a:ext uri="{FF2B5EF4-FFF2-40B4-BE49-F238E27FC236}">
                <a16:creationId xmlns:a16="http://schemas.microsoft.com/office/drawing/2014/main" id="{F810F0F2-BF1D-57B2-BE52-2A620668D0B7}"/>
              </a:ext>
            </a:extLst>
          </p:cNvPr>
          <p:cNvSpPr txBox="1"/>
          <p:nvPr userDrawn="1">
            <p:extLst>
              <p:ext uri="{1162E1C5-73C7-4A58-AE30-91384D911F3F}">
                <p184:classification xmlns:p184="http://schemas.microsoft.com/office/powerpoint/2018/4/main" val="hdr"/>
              </p:ext>
            </p:extLst>
          </p:nvPr>
        </p:nvSpPr>
        <p:spPr>
          <a:xfrm>
            <a:off x="5893562" y="0"/>
            <a:ext cx="433388" cy="152400"/>
          </a:xfrm>
          <a:prstGeom prst="rect">
            <a:avLst/>
          </a:prstGeom>
        </p:spPr>
        <p:txBody>
          <a:bodyPr horzOverflow="overflow" lIns="0" tIns="0" rIns="0" bIns="0">
            <a:spAutoFit/>
          </a:bodyPr>
          <a:lstStyle/>
          <a:p>
            <a:pPr algn="l"/>
            <a:r>
              <a:rPr lang="en-US" sz="1000" dirty="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883253381"/>
      </p:ext>
    </p:extLst>
  </p:cSld>
  <p:clrMap bg1="lt1" tx1="dk1" bg2="lt2" tx2="dk2" accent1="accent1" accent2="accent2" accent3="accent3" accent4="accent4" accent5="accent5" accent6="accent6" hlink="hlink" folHlink="folHlink"/>
  <p:sldLayoutIdLst>
    <p:sldLayoutId id="2147483740" r:id="rId1"/>
    <p:sldLayoutId id="2147483747" r:id="rId2"/>
    <p:sldLayoutId id="2147483777" r:id="rId3"/>
    <p:sldLayoutId id="2147483793" r:id="rId4"/>
    <p:sldLayoutId id="2147483794"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7"/>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7"/>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7"/>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1</a:t>
            </a:r>
            <a:endParaRPr lang="en-US" noProof="0" dirty="0"/>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ltLang="zh-CN" noProof="0"/>
              <a:t>28 . Mar . 2025</a:t>
            </a:r>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dirty="0"/>
            </a:p>
          </p:txBody>
        </p:sp>
      </p:grpSp>
      <p:sp>
        <p:nvSpPr>
          <p:cNvPr id="7" name="TextBox 6">
            <a:extLst>
              <a:ext uri="{FF2B5EF4-FFF2-40B4-BE49-F238E27FC236}">
                <a16:creationId xmlns:a16="http://schemas.microsoft.com/office/drawing/2014/main" id="{2159DCEB-46DC-AB7E-F38F-6D02694009D0}"/>
              </a:ext>
            </a:extLst>
          </p:cNvPr>
          <p:cNvSpPr txBox="1"/>
          <p:nvPr userDrawn="1">
            <p:extLst>
              <p:ext uri="{1162E1C5-73C7-4A58-AE30-91384D911F3F}">
                <p184:classification xmlns:p184="http://schemas.microsoft.com/office/powerpoint/2018/4/main" val="hdr"/>
              </p:ext>
            </p:extLst>
          </p:nvPr>
        </p:nvSpPr>
        <p:spPr>
          <a:xfrm>
            <a:off x="5826083" y="1"/>
            <a:ext cx="577851" cy="205121"/>
          </a:xfrm>
          <a:prstGeom prst="rect">
            <a:avLst/>
          </a:prstGeom>
        </p:spPr>
        <p:txBody>
          <a:bodyPr horzOverflow="overflow" lIns="0" tIns="0" rIns="0" bIns="0">
            <a:spAutoFit/>
          </a:bodyPr>
          <a:lstStyle/>
          <a:p>
            <a:pPr algn="l"/>
            <a:r>
              <a:rPr lang="en-US" sz="1333" dirty="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3316917029"/>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1</a:t>
            </a:r>
            <a:endParaRPr lang="en-US" noProof="0" dirty="0"/>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ltLang="zh-CN" noProof="0"/>
              <a:t>28 . Mar . 2025</a:t>
            </a:r>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dirty="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dirty="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dirty="0"/>
            </a:p>
          </p:txBody>
        </p:sp>
      </p:grpSp>
      <p:sp>
        <p:nvSpPr>
          <p:cNvPr id="7" name="TextBox 6">
            <a:extLst>
              <a:ext uri="{FF2B5EF4-FFF2-40B4-BE49-F238E27FC236}">
                <a16:creationId xmlns:a16="http://schemas.microsoft.com/office/drawing/2014/main" id="{2159DCEB-46DC-AB7E-F38F-6D02694009D0}"/>
              </a:ext>
            </a:extLst>
          </p:cNvPr>
          <p:cNvSpPr txBox="1"/>
          <p:nvPr userDrawn="1">
            <p:extLst>
              <p:ext uri="{1162E1C5-73C7-4A58-AE30-91384D911F3F}">
                <p184:classification xmlns:p184="http://schemas.microsoft.com/office/powerpoint/2018/4/main" val="hdr"/>
              </p:ext>
            </p:extLst>
          </p:nvPr>
        </p:nvSpPr>
        <p:spPr>
          <a:xfrm>
            <a:off x="5826083" y="1"/>
            <a:ext cx="577851" cy="205121"/>
          </a:xfrm>
          <a:prstGeom prst="rect">
            <a:avLst/>
          </a:prstGeom>
        </p:spPr>
        <p:txBody>
          <a:bodyPr horzOverflow="overflow" lIns="0" tIns="0" rIns="0" bIns="0">
            <a:spAutoFit/>
          </a:bodyPr>
          <a:lstStyle/>
          <a:p>
            <a:pPr algn="l"/>
            <a:r>
              <a:rPr lang="en-US" sz="1333" dirty="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1040381281"/>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microsoft.com/office/2007/relationships/hdphoto" Target="../media/hdphoto2.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slideLayout" Target="../slideLayouts/slideLayout8.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20.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21.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22.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2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hyperlink" Target="https://www.cdisc.org/standards/foundational/sdtm/sdtm-metadata-submission-guidelines-v2-0" TargetMode="Externa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26.xml"/><Relationship Id="rId6" Type="http://schemas.openxmlformats.org/officeDocument/2006/relationships/image" Target="../media/image30.png"/><Relationship Id="rId5" Type="http://schemas.openxmlformats.org/officeDocument/2006/relationships/notesSlide" Target="../notesSlides/notesSlide22.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27.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33.png"/><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0.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31.xml"/><Relationship Id="rId4" Type="http://schemas.openxmlformats.org/officeDocument/2006/relationships/image" Target="../media/image36.gi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33.xml"/><Relationship Id="rId4" Type="http://schemas.openxmlformats.org/officeDocument/2006/relationships/chart" Target="../charts/char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hyperlink" Target="https://www.pinnacle21.com/"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A_矩形 9">
            <a:extLst>
              <a:ext uri="{FF2B5EF4-FFF2-40B4-BE49-F238E27FC236}">
                <a16:creationId xmlns:a16="http://schemas.microsoft.com/office/drawing/2014/main" id="{03BD6007-B6F7-9383-EDE0-2CE9A14E6B05}"/>
              </a:ext>
            </a:extLst>
          </p:cNvPr>
          <p:cNvSpPr/>
          <p:nvPr>
            <p:custDataLst>
              <p:tags r:id="rId1"/>
            </p:custDataLst>
          </p:nvPr>
        </p:nvSpPr>
        <p:spPr>
          <a:xfrm>
            <a:off x="-43" y="2668537"/>
            <a:ext cx="12192000" cy="1323504"/>
          </a:xfrm>
          <a:prstGeom prst="rect">
            <a:avLst/>
          </a:prstGeom>
          <a:solidFill>
            <a:srgbClr val="7A00E6"/>
          </a:solidFill>
          <a:ln w="38100">
            <a:gradFill flip="none" rotWithShape="1">
              <a:gsLst>
                <a:gs pos="0">
                  <a:srgbClr val="CFCFCF"/>
                </a:gs>
                <a:gs pos="100000">
                  <a:schemeClr val="bg1"/>
                </a:gs>
              </a:gsLst>
              <a:lin ang="2700000" scaled="1"/>
              <a:tileRect/>
            </a:gradFill>
          </a:ln>
          <a:effectLst>
            <a:innerShdw blurRad="203200" dist="203200" dir="135000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18" name="PA_椭圆 5">
            <a:extLst>
              <a:ext uri="{FF2B5EF4-FFF2-40B4-BE49-F238E27FC236}">
                <a16:creationId xmlns:a16="http://schemas.microsoft.com/office/drawing/2014/main" id="{BDDDA713-CD0F-6981-5276-F1A0D1BCF50B}"/>
              </a:ext>
            </a:extLst>
          </p:cNvPr>
          <p:cNvSpPr/>
          <p:nvPr>
            <p:custDataLst>
              <p:tags r:id="rId2"/>
            </p:custDataLst>
          </p:nvPr>
        </p:nvSpPr>
        <p:spPr>
          <a:xfrm>
            <a:off x="3776104" y="4033817"/>
            <a:ext cx="830896" cy="856209"/>
          </a:xfrm>
          <a:prstGeom prst="ellipse">
            <a:avLst/>
          </a:prstGeom>
          <a:gradFill flip="none" rotWithShape="1">
            <a:gsLst>
              <a:gs pos="0">
                <a:schemeClr val="accent1"/>
              </a:gs>
              <a:gs pos="100000">
                <a:schemeClr val="accent1">
                  <a:lumMod val="50000"/>
                </a:schemeClr>
              </a:gs>
            </a:gsLst>
            <a:lin ang="13500000" scaled="1"/>
            <a:tileRect/>
          </a:gradFill>
          <a:ln w="25400">
            <a:gradFill flip="none" rotWithShape="1">
              <a:gsLst>
                <a:gs pos="0">
                  <a:schemeClr val="accent1"/>
                </a:gs>
                <a:gs pos="100000">
                  <a:schemeClr val="accent1">
                    <a:lumMod val="50000"/>
                  </a:schemeClr>
                </a:gs>
              </a:gsLst>
              <a:lin ang="2700000" scaled="1"/>
              <a:tileRect/>
            </a:gradFill>
          </a:ln>
          <a:effectLst>
            <a:outerShdw blurRad="152400" dist="152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zh-CN" altLang="en-US" sz="1867" b="0" i="0" u="none" strike="noStrike" kern="1200" cap="none" spc="0" normalizeH="0" baseline="0" noProof="0">
              <a:ln>
                <a:noFill/>
              </a:ln>
              <a:solidFill>
                <a:prstClr val="white"/>
              </a:solidFill>
              <a:effectLst/>
              <a:uLnTx/>
              <a:uFillTx/>
              <a:latin typeface="Verdana"/>
              <a:ea typeface="+mn-ea"/>
              <a:cs typeface="+mn-cs"/>
            </a:endParaRPr>
          </a:p>
        </p:txBody>
      </p:sp>
      <p:sp>
        <p:nvSpPr>
          <p:cNvPr id="16" name="PA_椭圆 7">
            <a:extLst>
              <a:ext uri="{FF2B5EF4-FFF2-40B4-BE49-F238E27FC236}">
                <a16:creationId xmlns:a16="http://schemas.microsoft.com/office/drawing/2014/main" id="{284981D1-61C2-7979-F18E-4679034036EE}"/>
              </a:ext>
            </a:extLst>
          </p:cNvPr>
          <p:cNvSpPr/>
          <p:nvPr>
            <p:custDataLst>
              <p:tags r:id="rId3"/>
            </p:custDataLst>
          </p:nvPr>
        </p:nvSpPr>
        <p:spPr>
          <a:xfrm>
            <a:off x="914201" y="4536381"/>
            <a:ext cx="798995" cy="796185"/>
          </a:xfrm>
          <a:prstGeom prst="ellipse">
            <a:avLst/>
          </a:prstGeom>
          <a:gradFill flip="none" rotWithShape="1">
            <a:gsLst>
              <a:gs pos="0">
                <a:schemeClr val="accent3"/>
              </a:gs>
              <a:gs pos="100000">
                <a:schemeClr val="accent3">
                  <a:lumMod val="50000"/>
                </a:schemeClr>
              </a:gs>
            </a:gsLst>
            <a:lin ang="13500000" scaled="1"/>
            <a:tileRect/>
          </a:gradFill>
          <a:ln w="25400">
            <a:gradFill flip="none" rotWithShape="1">
              <a:gsLst>
                <a:gs pos="0">
                  <a:schemeClr val="accent3"/>
                </a:gs>
                <a:gs pos="100000">
                  <a:schemeClr val="accent3">
                    <a:lumMod val="50000"/>
                  </a:schemeClr>
                </a:gs>
              </a:gsLst>
              <a:lin ang="2700000" scaled="1"/>
              <a:tileRect/>
            </a:gradFill>
          </a:ln>
          <a:effectLst>
            <a:outerShdw blurRad="152400" dist="152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zh-CN" altLang="en-US" sz="1867" b="0" i="0" u="none" strike="noStrike" kern="1200" cap="none" spc="0" normalizeH="0" baseline="0" noProof="0">
              <a:ln>
                <a:noFill/>
              </a:ln>
              <a:solidFill>
                <a:prstClr val="white"/>
              </a:solidFill>
              <a:effectLst/>
              <a:uLnTx/>
              <a:uFillTx/>
              <a:latin typeface="Verdana"/>
              <a:ea typeface="+mn-ea"/>
              <a:cs typeface="+mn-cs"/>
            </a:endParaRPr>
          </a:p>
        </p:txBody>
      </p:sp>
      <p:sp>
        <p:nvSpPr>
          <p:cNvPr id="2" name="SmartArt 占位符 1">
            <a:extLst>
              <a:ext uri="{FF2B5EF4-FFF2-40B4-BE49-F238E27FC236}">
                <a16:creationId xmlns:a16="http://schemas.microsoft.com/office/drawing/2014/main" id="{24B1411F-BE04-84C7-A877-D9D952611A99}"/>
              </a:ext>
            </a:extLst>
          </p:cNvPr>
          <p:cNvSpPr>
            <a:spLocks noGrp="1"/>
          </p:cNvSpPr>
          <p:nvPr>
            <p:ph type="dgm" sz="quarter" idx="13"/>
          </p:nvPr>
        </p:nvSpPr>
        <p:spPr/>
        <p:txBody>
          <a:bodyPr/>
          <a:lstStyle/>
          <a:p>
            <a:endParaRPr lang="zh-CN" altLang="en-US"/>
          </a:p>
        </p:txBody>
      </p:sp>
      <p:sp>
        <p:nvSpPr>
          <p:cNvPr id="3" name="SmartArt 占位符 2">
            <a:extLst>
              <a:ext uri="{FF2B5EF4-FFF2-40B4-BE49-F238E27FC236}">
                <a16:creationId xmlns:a16="http://schemas.microsoft.com/office/drawing/2014/main" id="{54F39336-DAEA-8CC8-6798-5FE017DE5182}"/>
              </a:ext>
            </a:extLst>
          </p:cNvPr>
          <p:cNvSpPr>
            <a:spLocks noGrp="1"/>
          </p:cNvSpPr>
          <p:nvPr>
            <p:ph type="dgm" sz="quarter" idx="14"/>
          </p:nvPr>
        </p:nvSpPr>
        <p:spPr/>
        <p:txBody>
          <a:bodyPr/>
          <a:lstStyle/>
          <a:p>
            <a:endParaRPr lang="zh-CN" altLang="en-US"/>
          </a:p>
        </p:txBody>
      </p:sp>
      <p:sp>
        <p:nvSpPr>
          <p:cNvPr id="4" name="日期占位符 3">
            <a:extLst>
              <a:ext uri="{FF2B5EF4-FFF2-40B4-BE49-F238E27FC236}">
                <a16:creationId xmlns:a16="http://schemas.microsoft.com/office/drawing/2014/main" id="{89879AC6-F6A9-7F6F-B9EC-81BF3F4A6765}"/>
              </a:ext>
            </a:extLst>
          </p:cNvPr>
          <p:cNvSpPr>
            <a:spLocks noGrp="1"/>
          </p:cNvSpPr>
          <p:nvPr>
            <p:ph type="dt" sz="half" idx="15"/>
          </p:nvPr>
        </p:nvSpPr>
        <p:spPr/>
        <p: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27" normalizeH="0" baseline="0" noProof="0">
                <a:ln>
                  <a:noFill/>
                </a:ln>
                <a:solidFill>
                  <a:prstClr val="black"/>
                </a:solidFill>
                <a:effectLst/>
                <a:uLnTx/>
                <a:uFillTx/>
                <a:latin typeface="Verdana" panose="020B0604030504040204" pitchFamily="34" charset="0"/>
                <a:ea typeface="Verdana" panose="020B0604030504040204" pitchFamily="34" charset="0"/>
              </a:rPr>
              <a:t>28 . Mar . 2025</a:t>
            </a:r>
            <a:endParaRPr kumimoji="0" lang="en-US" sz="1467" b="0" i="0" u="none" strike="noStrike" kern="1200" cap="none" spc="27"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7" name="文本占位符 6">
            <a:extLst>
              <a:ext uri="{FF2B5EF4-FFF2-40B4-BE49-F238E27FC236}">
                <a16:creationId xmlns:a16="http://schemas.microsoft.com/office/drawing/2014/main" id="{D596F802-FA7F-9F45-7734-8413EEAC49AE}"/>
              </a:ext>
            </a:extLst>
          </p:cNvPr>
          <p:cNvSpPr>
            <a:spLocks noGrp="1"/>
          </p:cNvSpPr>
          <p:nvPr>
            <p:ph type="body" sz="quarter" idx="23"/>
          </p:nvPr>
        </p:nvSpPr>
        <p:spPr>
          <a:xfrm>
            <a:off x="1625920" y="5581039"/>
            <a:ext cx="9230445" cy="308387"/>
          </a:xfrm>
        </p:spPr>
        <p:txBody>
          <a:bodyPr/>
          <a:lstStyle/>
          <a:p>
            <a:r>
              <a:rPr lang="en-US" altLang="zh-CN" b="1" dirty="0"/>
              <a:t>      </a:t>
            </a:r>
            <a:r>
              <a:rPr lang="en-US" altLang="zh-CN" b="1" i="1" dirty="0"/>
              <a:t>Team members</a:t>
            </a:r>
            <a:r>
              <a:rPr lang="en-US" altLang="zh-CN" b="1" dirty="0"/>
              <a:t>: </a:t>
            </a:r>
            <a:r>
              <a:rPr lang="en-US" altLang="zh-CN" i="1" dirty="0" err="1"/>
              <a:t>Longfei</a:t>
            </a:r>
            <a:r>
              <a:rPr lang="en-US" altLang="zh-CN" i="1" dirty="0"/>
              <a:t> LI, Xing WANG, Enki WANG, Nana XI</a:t>
            </a:r>
          </a:p>
          <a:p>
            <a:r>
              <a:rPr lang="en-US" altLang="zh-CN" sz="1467" i="1" dirty="0">
                <a:solidFill>
                  <a:schemeClr val="bg1">
                    <a:lumMod val="75000"/>
                  </a:schemeClr>
                </a:solidFill>
              </a:rPr>
              <a:t>on behalf of </a:t>
            </a:r>
            <a:r>
              <a:rPr lang="en-US" altLang="zh-CN" sz="1467" i="1" dirty="0" err="1">
                <a:solidFill>
                  <a:schemeClr val="bg1">
                    <a:lumMod val="75000"/>
                  </a:schemeClr>
                </a:solidFill>
              </a:rPr>
              <a:t>CoE</a:t>
            </a:r>
            <a:r>
              <a:rPr lang="en-US" altLang="zh-CN" sz="1467" i="1" dirty="0">
                <a:solidFill>
                  <a:schemeClr val="bg1">
                    <a:lumMod val="75000"/>
                  </a:schemeClr>
                </a:solidFill>
              </a:rPr>
              <a:t> – SDR, Sanofi</a:t>
            </a:r>
            <a:endParaRPr lang="zh-CN" altLang="en-US" sz="1467" i="1" dirty="0">
              <a:solidFill>
                <a:schemeClr val="bg1">
                  <a:lumMod val="75000"/>
                </a:schemeClr>
              </a:solidFill>
            </a:endParaRPr>
          </a:p>
        </p:txBody>
      </p:sp>
      <p:sp>
        <p:nvSpPr>
          <p:cNvPr id="15" name="PA_椭圆 11">
            <a:extLst>
              <a:ext uri="{FF2B5EF4-FFF2-40B4-BE49-F238E27FC236}">
                <a16:creationId xmlns:a16="http://schemas.microsoft.com/office/drawing/2014/main" id="{75B2EEC9-0067-5990-FA6E-A935EB6A867D}"/>
              </a:ext>
            </a:extLst>
          </p:cNvPr>
          <p:cNvSpPr/>
          <p:nvPr>
            <p:custDataLst>
              <p:tags r:id="rId4"/>
            </p:custDataLst>
          </p:nvPr>
        </p:nvSpPr>
        <p:spPr>
          <a:xfrm>
            <a:off x="-93799" y="2796497"/>
            <a:ext cx="1008000" cy="1008000"/>
          </a:xfrm>
          <a:prstGeom prst="ellipse">
            <a:avLst/>
          </a:prstGeom>
          <a:gradFill flip="none" rotWithShape="1">
            <a:gsLst>
              <a:gs pos="0">
                <a:schemeClr val="bg1"/>
              </a:gs>
              <a:gs pos="100000">
                <a:schemeClr val="bg1">
                  <a:lumMod val="85000"/>
                </a:schemeClr>
              </a:gs>
            </a:gsLst>
            <a:lin ang="13500000" scaled="1"/>
            <a:tileRect/>
          </a:gradFill>
          <a:ln w="25400">
            <a:gradFill flip="none" rotWithShape="1">
              <a:gsLst>
                <a:gs pos="0">
                  <a:schemeClr val="bg1">
                    <a:lumMod val="100000"/>
                  </a:schemeClr>
                </a:gs>
                <a:gs pos="100000">
                  <a:schemeClr val="bg1">
                    <a:lumMod val="85000"/>
                  </a:schemeClr>
                </a:gs>
              </a:gsLst>
              <a:lin ang="2700000" scaled="1"/>
              <a:tileRect/>
            </a:gradFill>
          </a:ln>
          <a:effectLst>
            <a:outerShdw blurRad="152400" dist="152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zh-CN" altLang="en-US" sz="1867" b="0" i="0" u="none" strike="noStrike" kern="1200" cap="none" spc="0" normalizeH="0" baseline="0" noProof="0">
              <a:ln>
                <a:noFill/>
              </a:ln>
              <a:solidFill>
                <a:prstClr val="white"/>
              </a:solidFill>
              <a:effectLst/>
              <a:uLnTx/>
              <a:uFillTx/>
              <a:latin typeface="Verdana"/>
              <a:ea typeface="+mn-ea"/>
              <a:cs typeface="+mn-cs"/>
            </a:endParaRPr>
          </a:p>
        </p:txBody>
      </p:sp>
      <p:sp>
        <p:nvSpPr>
          <p:cNvPr id="19" name="Text Placeholder 6">
            <a:extLst>
              <a:ext uri="{FF2B5EF4-FFF2-40B4-BE49-F238E27FC236}">
                <a16:creationId xmlns:a16="http://schemas.microsoft.com/office/drawing/2014/main" id="{EEF68B12-0AAD-4267-1693-A2E197931FA3}"/>
              </a:ext>
            </a:extLst>
          </p:cNvPr>
          <p:cNvSpPr>
            <a:spLocks noGrp="1"/>
          </p:cNvSpPr>
          <p:nvPr>
            <p:ph type="body" sz="quarter" idx="21"/>
          </p:nvPr>
        </p:nvSpPr>
        <p:spPr>
          <a:xfrm>
            <a:off x="3841005" y="2480006"/>
            <a:ext cx="6401300" cy="1848836"/>
          </a:xfrm>
        </p:spPr>
        <p:txBody>
          <a:bodyPr/>
          <a:lstStyle/>
          <a:p>
            <a:r>
              <a:rPr lang="en-US" sz="4800" b="1">
                <a:solidFill>
                  <a:schemeClr val="bg1">
                    <a:lumMod val="95000"/>
                  </a:schemeClr>
                </a:solidFill>
              </a:rPr>
              <a:t>ease</a:t>
            </a:r>
            <a:r>
              <a:rPr lang="en-US" altLang="zh-CN" sz="4800" b="1">
                <a:solidFill>
                  <a:schemeClr val="bg1">
                    <a:lumMod val="95000"/>
                  </a:schemeClr>
                </a:solidFill>
              </a:rPr>
              <a:t>P21</a:t>
            </a:r>
            <a:endParaRPr lang="en-US" sz="4800" b="1">
              <a:solidFill>
                <a:schemeClr val="bg1">
                  <a:lumMod val="95000"/>
                </a:schemeClr>
              </a:solidFill>
            </a:endParaRPr>
          </a:p>
          <a:p>
            <a:endParaRPr lang="en-US" sz="3733" b="1">
              <a:solidFill>
                <a:schemeClr val="bg1">
                  <a:lumMod val="95000"/>
                </a:schemeClr>
              </a:solidFill>
            </a:endParaRPr>
          </a:p>
        </p:txBody>
      </p:sp>
      <p:pic>
        <p:nvPicPr>
          <p:cNvPr id="11" name="Picture 10" descr="A hexagon with a cartoon character on it&#10;&#10;AI-generated content may be incorrect.">
            <a:extLst>
              <a:ext uri="{FF2B5EF4-FFF2-40B4-BE49-F238E27FC236}">
                <a16:creationId xmlns:a16="http://schemas.microsoft.com/office/drawing/2014/main" id="{BF720646-B6BE-17FF-B00C-005F276FBAF0}"/>
              </a:ext>
            </a:extLst>
          </p:cNvPr>
          <p:cNvPicPr>
            <a:picLocks noChangeAspect="1"/>
          </p:cNvPicPr>
          <p:nvPr/>
        </p:nvPicPr>
        <p:blipFill>
          <a:blip r:embed="rId6">
            <a:alphaModFix/>
            <a:extLst>
              <a:ext uri="{BEBA8EAE-BF5A-486C-A8C5-ECC9F3942E4B}">
                <a14:imgProps xmlns:a14="http://schemas.microsoft.com/office/drawing/2010/main">
                  <a14:imgLayer r:embed="rId7">
                    <a14:imgEffect>
                      <a14:colorTemperature colorTemp="8800"/>
                    </a14:imgEffect>
                  </a14:imgLayer>
                </a14:imgProps>
              </a:ext>
              <a:ext uri="{28A0092B-C50C-407E-A947-70E740481C1C}">
                <a14:useLocalDpi xmlns:a14="http://schemas.microsoft.com/office/drawing/2010/main" val="0"/>
              </a:ext>
            </a:extLst>
          </a:blip>
          <a:stretch>
            <a:fillRect/>
          </a:stretch>
        </p:blipFill>
        <p:spPr>
          <a:xfrm>
            <a:off x="917661" y="1700665"/>
            <a:ext cx="2829588" cy="3224815"/>
          </a:xfrm>
          <a:prstGeom prst="rect">
            <a:avLst/>
          </a:prstGeom>
        </p:spPr>
      </p:pic>
      <p:sp>
        <p:nvSpPr>
          <p:cNvPr id="12" name="Text Placeholder 7">
            <a:extLst>
              <a:ext uri="{FF2B5EF4-FFF2-40B4-BE49-F238E27FC236}">
                <a16:creationId xmlns:a16="http://schemas.microsoft.com/office/drawing/2014/main" id="{39C84ED8-2437-945F-E586-9B00261FBF8C}"/>
              </a:ext>
            </a:extLst>
          </p:cNvPr>
          <p:cNvSpPr>
            <a:spLocks noGrp="1"/>
          </p:cNvSpPr>
          <p:nvPr>
            <p:ph type="body" sz="quarter" idx="22"/>
          </p:nvPr>
        </p:nvSpPr>
        <p:spPr>
          <a:xfrm>
            <a:off x="4230944" y="2502337"/>
            <a:ext cx="6473226" cy="295865"/>
          </a:xfrm>
        </p:spPr>
        <p:txBody>
          <a:bodyPr/>
          <a:lstStyle/>
          <a:p>
            <a:r>
              <a:rPr lang="en-US" altLang="zh-CN" sz="2000"/>
              <a:t>An</a:t>
            </a:r>
            <a:r>
              <a:rPr lang="zh-CN" altLang="en-US" sz="2000"/>
              <a:t> </a:t>
            </a:r>
            <a:r>
              <a:rPr lang="en-US" altLang="zh-CN" sz="2000"/>
              <a:t>R tool to ease the Pinnacle 21 review process</a:t>
            </a:r>
          </a:p>
          <a:p>
            <a:endParaRPr lang="en-US"/>
          </a:p>
        </p:txBody>
      </p:sp>
    </p:spTree>
    <p:extLst>
      <p:ext uri="{BB962C8B-B14F-4D97-AF65-F5344CB8AC3E}">
        <p14:creationId xmlns:p14="http://schemas.microsoft.com/office/powerpoint/2010/main" val="362633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2733FB89-AEB3-5E93-A4D4-71FCDE2D9E9F}"/>
              </a:ext>
            </a:extLst>
          </p:cNvPr>
          <p:cNvSpPr txBox="1"/>
          <p:nvPr/>
        </p:nvSpPr>
        <p:spPr>
          <a:xfrm>
            <a:off x="512064" y="1051560"/>
            <a:ext cx="69677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Shortcoming and Challenge</a:t>
            </a:r>
            <a:endParaRPr kumimoji="0" lang="zh-CN" altLang="en-US"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文本框 3">
            <a:extLst>
              <a:ext uri="{FF2B5EF4-FFF2-40B4-BE49-F238E27FC236}">
                <a16:creationId xmlns:a16="http://schemas.microsoft.com/office/drawing/2014/main" id="{2BB29E21-F94B-610C-7DC1-EEE97761DD05}"/>
              </a:ext>
            </a:extLst>
          </p:cNvPr>
          <p:cNvSpPr txBox="1"/>
          <p:nvPr/>
        </p:nvSpPr>
        <p:spPr>
          <a:xfrm>
            <a:off x="886968" y="1869033"/>
            <a:ext cx="111282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4. Reviewing is cumbersome, and synchronization across multiple sheets</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07BBFA90-1B0E-FB79-BC6B-70B92C260467}"/>
              </a:ext>
            </a:extLst>
          </p:cNvPr>
          <p:cNvSpPr txBox="1"/>
          <p:nvPr/>
        </p:nvSpPr>
        <p:spPr>
          <a:xfrm>
            <a:off x="886968" y="5149986"/>
            <a:ext cx="111282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P21 displays issues and rules in separate sheets. If you need to understand the specific P21 rule corresponding to an issue, you need to switch from the issue sheet to the rule sheet to view it.</a:t>
            </a:r>
            <a:endParaRPr kumimoji="0" lang="zh-CN" altLang="en-US" sz="1800" b="0" i="0" u="none" strike="noStrike" kern="1200" cap="none" spc="0" normalizeH="0" baseline="0" noProof="0" dirty="0">
              <a:ln>
                <a:noFill/>
              </a:ln>
              <a:solidFill>
                <a:prstClr val="black"/>
              </a:solidFill>
              <a:effectLst/>
              <a:uLnTx/>
              <a:uFillTx/>
              <a:latin typeface="-apple-system"/>
              <a:ea typeface="+mn-ea"/>
              <a:cs typeface="+mn-cs"/>
            </a:endParaRPr>
          </a:p>
        </p:txBody>
      </p:sp>
      <p:pic>
        <p:nvPicPr>
          <p:cNvPr id="5" name="图片 4">
            <a:extLst>
              <a:ext uri="{FF2B5EF4-FFF2-40B4-BE49-F238E27FC236}">
                <a16:creationId xmlns:a16="http://schemas.microsoft.com/office/drawing/2014/main" id="{7DB4D3AF-3373-A7F5-DAAA-208C615D31D1}"/>
              </a:ext>
            </a:extLst>
          </p:cNvPr>
          <p:cNvPicPr>
            <a:picLocks noChangeAspect="1"/>
          </p:cNvPicPr>
          <p:nvPr/>
        </p:nvPicPr>
        <p:blipFill>
          <a:blip r:embed="rId4"/>
          <a:stretch>
            <a:fillRect/>
          </a:stretch>
        </p:blipFill>
        <p:spPr>
          <a:xfrm>
            <a:off x="1021730" y="2594173"/>
            <a:ext cx="10148539" cy="2229007"/>
          </a:xfrm>
          <a:prstGeom prst="rect">
            <a:avLst/>
          </a:prstGeom>
        </p:spPr>
      </p:pic>
      <p:grpSp>
        <p:nvGrpSpPr>
          <p:cNvPr id="13" name="Group 12">
            <a:extLst>
              <a:ext uri="{FF2B5EF4-FFF2-40B4-BE49-F238E27FC236}">
                <a16:creationId xmlns:a16="http://schemas.microsoft.com/office/drawing/2014/main" id="{EAFD4F32-C590-D143-19C1-2EB31F6D0A32}"/>
              </a:ext>
            </a:extLst>
          </p:cNvPr>
          <p:cNvGrpSpPr/>
          <p:nvPr/>
        </p:nvGrpSpPr>
        <p:grpSpPr>
          <a:xfrm>
            <a:off x="8672946" y="832784"/>
            <a:ext cx="3094181" cy="899215"/>
            <a:chOff x="8672946" y="832784"/>
            <a:chExt cx="3094181" cy="899215"/>
          </a:xfrm>
        </p:grpSpPr>
        <p:sp>
          <p:nvSpPr>
            <p:cNvPr id="14" name="云形 2">
              <a:extLst>
                <a:ext uri="{FF2B5EF4-FFF2-40B4-BE49-F238E27FC236}">
                  <a16:creationId xmlns:a16="http://schemas.microsoft.com/office/drawing/2014/main" id="{0620F6EA-AC7F-608F-5040-2A891D00A532}"/>
                </a:ext>
              </a:extLst>
            </p:cNvPr>
            <p:cNvSpPr/>
            <p:nvPr/>
          </p:nvSpPr>
          <p:spPr>
            <a:xfrm>
              <a:off x="8672946" y="832784"/>
              <a:ext cx="3094181" cy="899215"/>
            </a:xfrm>
            <a:prstGeom prst="clou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5" name="文本框 4">
              <a:extLst>
                <a:ext uri="{FF2B5EF4-FFF2-40B4-BE49-F238E27FC236}">
                  <a16:creationId xmlns:a16="http://schemas.microsoft.com/office/drawing/2014/main" id="{BA82CD57-B122-1DF8-833D-CF96A6C9F347}"/>
                </a:ext>
              </a:extLst>
            </p:cNvPr>
            <p:cNvSpPr txBox="1"/>
            <p:nvPr/>
          </p:nvSpPr>
          <p:spPr>
            <a:xfrm>
              <a:off x="9088581" y="1114797"/>
              <a:ext cx="22629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 SDTM and </a:t>
              </a:r>
              <a:r>
                <a:rPr kumimoji="0" lang="en-US" altLang="zh-CN" sz="18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ADaM</a:t>
              </a:r>
              <a:endParaRPr kumimoji="0" lang="zh-CN" altLang="en-US"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sp>
        <p:nvSpPr>
          <p:cNvPr id="6" name="日期占位符 5">
            <a:extLst>
              <a:ext uri="{FF2B5EF4-FFF2-40B4-BE49-F238E27FC236}">
                <a16:creationId xmlns:a16="http://schemas.microsoft.com/office/drawing/2014/main" id="{6771D92B-892F-2FB1-BCF8-B289F5FF1FFC}"/>
              </a:ext>
            </a:extLst>
          </p:cNvPr>
          <p:cNvSpPr>
            <a:spLocks noGrp="1"/>
          </p:cNvSpPr>
          <p:nvPr>
            <p:ph type="dt" sz="half" idx="11"/>
          </p:nvPr>
        </p:nvSpPr>
        <p:spPr/>
        <p:txBody>
          <a:bodyPr/>
          <a:lstStyle/>
          <a:p>
            <a:r>
              <a:rPr lang="en-US" altLang="zh-CN" noProof="0"/>
              <a:t>28 . Mar . 2025</a:t>
            </a:r>
            <a:endParaRPr lang="en-US" noProof="0" dirty="0"/>
          </a:p>
        </p:txBody>
      </p:sp>
      <p:sp>
        <p:nvSpPr>
          <p:cNvPr id="10" name="灯片编号占位符 9">
            <a:extLst>
              <a:ext uri="{FF2B5EF4-FFF2-40B4-BE49-F238E27FC236}">
                <a16:creationId xmlns:a16="http://schemas.microsoft.com/office/drawing/2014/main" id="{92359ED8-4035-771D-2A4D-EDBAA2A47630}"/>
              </a:ext>
            </a:extLst>
          </p:cNvPr>
          <p:cNvSpPr>
            <a:spLocks noGrp="1"/>
          </p:cNvSpPr>
          <p:nvPr>
            <p:ph type="sldNum" sz="quarter" idx="12"/>
          </p:nvPr>
        </p:nvSpPr>
        <p:spPr/>
        <p:txBody>
          <a:bodyPr/>
          <a:lstStyle/>
          <a:p>
            <a:fld id="{6B54B0F7-55DD-40D6-B7F4-70B586885C0B}" type="slidenum">
              <a:rPr lang="en-US" smtClean="0"/>
              <a:pPr/>
              <a:t>10</a:t>
            </a:fld>
            <a:r>
              <a:rPr lang="en-US"/>
              <a:t>/37</a:t>
            </a:r>
            <a:endParaRPr lang="en-US" noProof="0" dirty="0"/>
          </a:p>
        </p:txBody>
      </p:sp>
    </p:spTree>
    <p:custDataLst>
      <p:tags r:id="rId1"/>
    </p:custDataLst>
    <p:extLst>
      <p:ext uri="{BB962C8B-B14F-4D97-AF65-F5344CB8AC3E}">
        <p14:creationId xmlns:p14="http://schemas.microsoft.com/office/powerpoint/2010/main" val="282479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3974"/>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2733FB89-AEB3-5E93-A4D4-71FCDE2D9E9F}"/>
              </a:ext>
            </a:extLst>
          </p:cNvPr>
          <p:cNvSpPr txBox="1"/>
          <p:nvPr/>
        </p:nvSpPr>
        <p:spPr>
          <a:xfrm>
            <a:off x="512064" y="1051560"/>
            <a:ext cx="69677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Shortcoming and Challenge</a:t>
            </a:r>
            <a:endParaRPr kumimoji="0" lang="zh-CN" altLang="en-US"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文本框 3">
            <a:extLst>
              <a:ext uri="{FF2B5EF4-FFF2-40B4-BE49-F238E27FC236}">
                <a16:creationId xmlns:a16="http://schemas.microsoft.com/office/drawing/2014/main" id="{2BB29E21-F94B-610C-7DC1-EEE97761DD05}"/>
              </a:ext>
            </a:extLst>
          </p:cNvPr>
          <p:cNvSpPr txBox="1"/>
          <p:nvPr/>
        </p:nvSpPr>
        <p:spPr>
          <a:xfrm>
            <a:off x="858093" y="1869033"/>
            <a:ext cx="111282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 Unable to retain the comments made during previous issue verification checks</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07BBFA90-1B0E-FB79-BC6B-70B92C260467}"/>
              </a:ext>
            </a:extLst>
          </p:cNvPr>
          <p:cNvSpPr txBox="1"/>
          <p:nvPr/>
        </p:nvSpPr>
        <p:spPr>
          <a:xfrm>
            <a:off x="1115568" y="2594173"/>
            <a:ext cx="946404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P21 only performs checks on the current SDTM/</a:t>
            </a:r>
            <a:r>
              <a:rPr kumimoji="0" lang="en-US" altLang="zh-CN" sz="1800" b="0" i="0" u="none" strike="noStrike" kern="1200" cap="none" spc="0" normalizeH="0" baseline="0" noProof="0" dirty="0" err="1">
                <a:ln>
                  <a:noFill/>
                </a:ln>
                <a:solidFill>
                  <a:prstClr val="black"/>
                </a:solidFill>
                <a:effectLst/>
                <a:uLnTx/>
                <a:uFillTx/>
                <a:latin typeface="-apple-system"/>
                <a:ea typeface="+mn-ea"/>
                <a:cs typeface="+mn-cs"/>
              </a:rPr>
              <a:t>ADaM</a:t>
            </a: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 dataset and outputs the corresponding report. Explanations for the same issues that appeared previously cannot be retained, resulting in a significant amount of repetitive work.</a:t>
            </a:r>
            <a:endParaRPr kumimoji="0" lang="zh-CN" altLang="en-US" sz="1800" b="0" i="0" u="none" strike="noStrike" kern="1200" cap="none" spc="0" normalizeH="0" baseline="0" noProof="0" dirty="0">
              <a:ln>
                <a:noFill/>
              </a:ln>
              <a:solidFill>
                <a:prstClr val="black"/>
              </a:solidFill>
              <a:effectLst/>
              <a:uLnTx/>
              <a:uFillTx/>
              <a:latin typeface="-apple-system"/>
              <a:ea typeface="+mn-ea"/>
              <a:cs typeface="+mn-cs"/>
            </a:endParaRPr>
          </a:p>
        </p:txBody>
      </p:sp>
      <p:grpSp>
        <p:nvGrpSpPr>
          <p:cNvPr id="7" name="Group 6">
            <a:extLst>
              <a:ext uri="{FF2B5EF4-FFF2-40B4-BE49-F238E27FC236}">
                <a16:creationId xmlns:a16="http://schemas.microsoft.com/office/drawing/2014/main" id="{B615D87B-E95D-5EE0-E03F-870A48E87EA6}"/>
              </a:ext>
            </a:extLst>
          </p:cNvPr>
          <p:cNvGrpSpPr/>
          <p:nvPr/>
        </p:nvGrpSpPr>
        <p:grpSpPr>
          <a:xfrm>
            <a:off x="8672946" y="832784"/>
            <a:ext cx="3094181" cy="899215"/>
            <a:chOff x="8672946" y="832784"/>
            <a:chExt cx="3094181" cy="899215"/>
          </a:xfrm>
        </p:grpSpPr>
        <p:sp>
          <p:nvSpPr>
            <p:cNvPr id="10" name="云形 2">
              <a:extLst>
                <a:ext uri="{FF2B5EF4-FFF2-40B4-BE49-F238E27FC236}">
                  <a16:creationId xmlns:a16="http://schemas.microsoft.com/office/drawing/2014/main" id="{DFDB605E-6AA1-DA5B-FC73-17642F0CEB7C}"/>
                </a:ext>
              </a:extLst>
            </p:cNvPr>
            <p:cNvSpPr/>
            <p:nvPr/>
          </p:nvSpPr>
          <p:spPr>
            <a:xfrm>
              <a:off x="8672946" y="832784"/>
              <a:ext cx="3094181" cy="899215"/>
            </a:xfrm>
            <a:prstGeom prst="clou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1" name="文本框 4">
              <a:extLst>
                <a:ext uri="{FF2B5EF4-FFF2-40B4-BE49-F238E27FC236}">
                  <a16:creationId xmlns:a16="http://schemas.microsoft.com/office/drawing/2014/main" id="{DB6208BA-A19E-5EF8-9858-C2C94DF0C376}"/>
                </a:ext>
              </a:extLst>
            </p:cNvPr>
            <p:cNvSpPr txBox="1"/>
            <p:nvPr/>
          </p:nvSpPr>
          <p:spPr>
            <a:xfrm>
              <a:off x="9088581" y="1114797"/>
              <a:ext cx="22629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 SDTM and </a:t>
              </a:r>
              <a:r>
                <a:rPr kumimoji="0" lang="en-US" altLang="zh-CN" sz="18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ADaM</a:t>
              </a:r>
              <a:endParaRPr kumimoji="0" lang="zh-CN" altLang="en-US"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sp>
        <p:nvSpPr>
          <p:cNvPr id="5" name="日期占位符 4">
            <a:extLst>
              <a:ext uri="{FF2B5EF4-FFF2-40B4-BE49-F238E27FC236}">
                <a16:creationId xmlns:a16="http://schemas.microsoft.com/office/drawing/2014/main" id="{1E3E4B09-AA8B-28D7-49BF-27F90C0ADFFE}"/>
              </a:ext>
            </a:extLst>
          </p:cNvPr>
          <p:cNvSpPr>
            <a:spLocks noGrp="1"/>
          </p:cNvSpPr>
          <p:nvPr>
            <p:ph type="dt" sz="half" idx="11"/>
          </p:nvPr>
        </p:nvSpPr>
        <p:spPr/>
        <p:txBody>
          <a:bodyPr/>
          <a:lstStyle/>
          <a:p>
            <a:r>
              <a:rPr lang="en-US" altLang="zh-CN" noProof="0"/>
              <a:t>28 . Mar . 2025</a:t>
            </a:r>
            <a:endParaRPr lang="en-US" noProof="0" dirty="0"/>
          </a:p>
        </p:txBody>
      </p:sp>
      <p:sp>
        <p:nvSpPr>
          <p:cNvPr id="12" name="灯片编号占位符 11">
            <a:extLst>
              <a:ext uri="{FF2B5EF4-FFF2-40B4-BE49-F238E27FC236}">
                <a16:creationId xmlns:a16="http://schemas.microsoft.com/office/drawing/2014/main" id="{ADCC4722-8115-8737-E84B-DC0F28FC96C6}"/>
              </a:ext>
            </a:extLst>
          </p:cNvPr>
          <p:cNvSpPr>
            <a:spLocks noGrp="1"/>
          </p:cNvSpPr>
          <p:nvPr>
            <p:ph type="sldNum" sz="quarter" idx="12"/>
          </p:nvPr>
        </p:nvSpPr>
        <p:spPr/>
        <p:txBody>
          <a:bodyPr/>
          <a:lstStyle/>
          <a:p>
            <a:fld id="{6B54B0F7-55DD-40D6-B7F4-70B586885C0B}" type="slidenum">
              <a:rPr lang="en-US" smtClean="0"/>
              <a:pPr/>
              <a:t>11</a:t>
            </a:fld>
            <a:r>
              <a:rPr lang="en-US"/>
              <a:t>/37</a:t>
            </a:r>
            <a:endParaRPr lang="en-US" noProof="0" dirty="0"/>
          </a:p>
        </p:txBody>
      </p:sp>
    </p:spTree>
    <p:custDataLst>
      <p:tags r:id="rId1"/>
    </p:custDataLst>
    <p:extLst>
      <p:ext uri="{BB962C8B-B14F-4D97-AF65-F5344CB8AC3E}">
        <p14:creationId xmlns:p14="http://schemas.microsoft.com/office/powerpoint/2010/main" val="67469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R</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15" name="Group 14">
            <a:extLst>
              <a:ext uri="{FF2B5EF4-FFF2-40B4-BE49-F238E27FC236}">
                <a16:creationId xmlns:a16="http://schemas.microsoft.com/office/drawing/2014/main" id="{4A903DA0-D66D-0C5C-6334-AC0CF213B4BE}"/>
              </a:ext>
            </a:extLst>
          </p:cNvPr>
          <p:cNvGrpSpPr/>
          <p:nvPr/>
        </p:nvGrpSpPr>
        <p:grpSpPr>
          <a:xfrm>
            <a:off x="3719514" y="3666383"/>
            <a:ext cx="3976683" cy="1636496"/>
            <a:chOff x="7105652" y="1457571"/>
            <a:chExt cx="3952870" cy="1636496"/>
          </a:xfrm>
        </p:grpSpPr>
        <p:sp>
          <p:nvSpPr>
            <p:cNvPr id="6" name="矩形: 圆角 5">
              <a:extLst>
                <a:ext uri="{FF2B5EF4-FFF2-40B4-BE49-F238E27FC236}">
                  <a16:creationId xmlns:a16="http://schemas.microsoft.com/office/drawing/2014/main" id="{2C1CFADC-E1AC-BC1A-B35C-C26E4DA36358}"/>
                </a:ext>
              </a:extLst>
            </p:cNvPr>
            <p:cNvSpPr/>
            <p:nvPr/>
          </p:nvSpPr>
          <p:spPr>
            <a:xfrm>
              <a:off x="7105652" y="1457571"/>
              <a:ext cx="3848100" cy="1636496"/>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7" name="文本框 6">
              <a:extLst>
                <a:ext uri="{FF2B5EF4-FFF2-40B4-BE49-F238E27FC236}">
                  <a16:creationId xmlns:a16="http://schemas.microsoft.com/office/drawing/2014/main" id="{65F814CB-5B73-E735-B4BB-6DA368B69E0B}"/>
                </a:ext>
              </a:extLst>
            </p:cNvPr>
            <p:cNvSpPr txBox="1"/>
            <p:nvPr/>
          </p:nvSpPr>
          <p:spPr>
            <a:xfrm>
              <a:off x="7210423" y="1537155"/>
              <a:ext cx="3848099" cy="1515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altLang="zh-CN" sz="1800" b="1" i="0" u="none" strike="noStrike" kern="1200" cap="none" spc="0" normalizeH="0" baseline="0" noProof="0" dirty="0">
                  <a:ln>
                    <a:noFill/>
                  </a:ln>
                  <a:solidFill>
                    <a:srgbClr val="C00000"/>
                  </a:solidFill>
                  <a:effectLst/>
                  <a:uLnTx/>
                  <a:uFillTx/>
                  <a:latin typeface="-apple-system"/>
                  <a:ea typeface="+mn-ea"/>
                  <a:cs typeface="+mn-cs"/>
                </a:rPr>
                <a:t>All in R</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Besides SAS, R is currently the most widely used language in Sanofi BP</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Build a complete set of data tools using R</a:t>
              </a:r>
            </a:p>
          </p:txBody>
        </p:sp>
      </p:grpSp>
      <p:grpSp>
        <p:nvGrpSpPr>
          <p:cNvPr id="14" name="Group 13">
            <a:extLst>
              <a:ext uri="{FF2B5EF4-FFF2-40B4-BE49-F238E27FC236}">
                <a16:creationId xmlns:a16="http://schemas.microsoft.com/office/drawing/2014/main" id="{4A00277C-4C23-BC53-06BF-041580DB1BF4}"/>
              </a:ext>
            </a:extLst>
          </p:cNvPr>
          <p:cNvGrpSpPr/>
          <p:nvPr/>
        </p:nvGrpSpPr>
        <p:grpSpPr>
          <a:xfrm>
            <a:off x="3771900" y="1378891"/>
            <a:ext cx="3924298" cy="1636497"/>
            <a:chOff x="1143000" y="3769517"/>
            <a:chExt cx="3924298" cy="1636497"/>
          </a:xfrm>
        </p:grpSpPr>
        <p:sp>
          <p:nvSpPr>
            <p:cNvPr id="8" name="矩形: 圆角 7">
              <a:extLst>
                <a:ext uri="{FF2B5EF4-FFF2-40B4-BE49-F238E27FC236}">
                  <a16:creationId xmlns:a16="http://schemas.microsoft.com/office/drawing/2014/main" id="{D0C07FBD-C420-6F18-B5C1-55FD992A9491}"/>
                </a:ext>
              </a:extLst>
            </p:cNvPr>
            <p:cNvSpPr/>
            <p:nvPr/>
          </p:nvSpPr>
          <p:spPr>
            <a:xfrm>
              <a:off x="1143000" y="3769517"/>
              <a:ext cx="3848100" cy="1636497"/>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0" name="文本框 9">
              <a:extLst>
                <a:ext uri="{FF2B5EF4-FFF2-40B4-BE49-F238E27FC236}">
                  <a16:creationId xmlns:a16="http://schemas.microsoft.com/office/drawing/2014/main" id="{56AE4236-ED79-531E-9E92-5A700945BA2E}"/>
                </a:ext>
              </a:extLst>
            </p:cNvPr>
            <p:cNvSpPr txBox="1"/>
            <p:nvPr/>
          </p:nvSpPr>
          <p:spPr>
            <a:xfrm>
              <a:off x="1219198" y="3851406"/>
              <a:ext cx="3848100" cy="1515800"/>
            </a:xfrm>
            <a:prstGeom prst="rect">
              <a:avLst/>
            </a:prstGeom>
            <a:noFill/>
          </p:spPr>
          <p:txBody>
            <a:bodyPr wrap="square" rtlCol="0">
              <a:spAutoFit/>
            </a:bodyPr>
            <a:lstStyle/>
            <a:p>
              <a:pPr marL="0" marR="0" lvl="0" indent="0" algn="l" defTabSz="914400" rtl="0" eaLnBrk="1" fontAlgn="auto" latinLnBrk="0" hangingPunct="1">
                <a:lnSpc>
                  <a:spcPct val="100000"/>
                </a:lnSpc>
                <a:spcAft>
                  <a:spcPts val="300"/>
                </a:spcAft>
                <a:buClrTx/>
                <a:buSzTx/>
                <a:buFontTx/>
                <a:buNone/>
                <a:tabLst/>
                <a:defRPr/>
              </a:pPr>
              <a:r>
                <a:rPr kumimoji="0" lang="en-US" altLang="zh-CN" sz="1800" b="1" i="0" u="none" strike="noStrike" kern="1200" cap="none" spc="0" normalizeH="0" baseline="0" noProof="0" dirty="0">
                  <a:ln>
                    <a:noFill/>
                  </a:ln>
                  <a:solidFill>
                    <a:srgbClr val="C00000"/>
                  </a:solidFill>
                  <a:effectLst/>
                  <a:uLnTx/>
                  <a:uFillTx/>
                  <a:latin typeface="-apple-system"/>
                  <a:ea typeface="+mn-ea"/>
                  <a:cs typeface="+mn-cs"/>
                </a:rPr>
                <a:t>R Shiny UI</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An outstanding UI framework for human-computer interaction</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Powerful tools for code-free operations</a:t>
              </a:r>
              <a:endParaRPr kumimoji="0" lang="zh-CN" alt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 name="日期占位符 1">
            <a:extLst>
              <a:ext uri="{FF2B5EF4-FFF2-40B4-BE49-F238E27FC236}">
                <a16:creationId xmlns:a16="http://schemas.microsoft.com/office/drawing/2014/main" id="{553A0CCA-D455-27CB-328B-73E1FAE319B2}"/>
              </a:ext>
            </a:extLst>
          </p:cNvPr>
          <p:cNvSpPr>
            <a:spLocks noGrp="1"/>
          </p:cNvSpPr>
          <p:nvPr>
            <p:ph type="dt" sz="half" idx="11"/>
          </p:nvPr>
        </p:nvSpPr>
        <p:spPr/>
        <p:txBody>
          <a:bodyPr/>
          <a:lstStyle/>
          <a:p>
            <a:r>
              <a:rPr lang="en-US" altLang="zh-CN" noProof="0"/>
              <a:t>28 . Mar . 2025</a:t>
            </a:r>
            <a:endParaRPr lang="en-US" noProof="0" dirty="0"/>
          </a:p>
        </p:txBody>
      </p:sp>
      <p:sp>
        <p:nvSpPr>
          <p:cNvPr id="4" name="灯片编号占位符 3">
            <a:extLst>
              <a:ext uri="{FF2B5EF4-FFF2-40B4-BE49-F238E27FC236}">
                <a16:creationId xmlns:a16="http://schemas.microsoft.com/office/drawing/2014/main" id="{C3B2CFAD-53C5-1F81-5918-DA34FCA7A584}"/>
              </a:ext>
            </a:extLst>
          </p:cNvPr>
          <p:cNvSpPr>
            <a:spLocks noGrp="1"/>
          </p:cNvSpPr>
          <p:nvPr>
            <p:ph type="sldNum" sz="quarter" idx="12"/>
          </p:nvPr>
        </p:nvSpPr>
        <p:spPr/>
        <p:txBody>
          <a:bodyPr/>
          <a:lstStyle/>
          <a:p>
            <a:fld id="{6B54B0F7-55DD-40D6-B7F4-70B586885C0B}" type="slidenum">
              <a:rPr lang="en-US" smtClean="0"/>
              <a:pPr/>
              <a:t>12</a:t>
            </a:fld>
            <a:r>
              <a:rPr lang="en-US"/>
              <a:t>/37</a:t>
            </a:r>
            <a:endParaRPr lang="en-US" noProof="0" dirty="0"/>
          </a:p>
        </p:txBody>
      </p:sp>
    </p:spTree>
    <p:custDataLst>
      <p:tags r:id="rId1"/>
    </p:custDataLst>
    <p:extLst>
      <p:ext uri="{BB962C8B-B14F-4D97-AF65-F5344CB8AC3E}">
        <p14:creationId xmlns:p14="http://schemas.microsoft.com/office/powerpoint/2010/main" val="191743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graphique SmartArt 1">
            <a:extLst>
              <a:ext uri="{FF2B5EF4-FFF2-40B4-BE49-F238E27FC236}">
                <a16:creationId xmlns:a16="http://schemas.microsoft.com/office/drawing/2014/main" id="{1F294D1C-16D2-4943-9E30-F68F81991935}"/>
              </a:ext>
            </a:extLst>
          </p:cNvPr>
          <p:cNvSpPr>
            <a:spLocks noGrp="1"/>
          </p:cNvSpPr>
          <p:nvPr>
            <p:ph type="dgm" sz="quarter" idx="13"/>
          </p:nvPr>
        </p:nvSpPr>
        <p:spPr/>
        <p:txBody>
          <a:bodyPr/>
          <a:lstStyle/>
          <a:p>
            <a:endParaRPr lang="zh-CN" altLang="en-US"/>
          </a:p>
        </p:txBody>
      </p:sp>
      <p:sp>
        <p:nvSpPr>
          <p:cNvPr id="4" name="Espace réservé du graphique SmartArt 3">
            <a:extLst>
              <a:ext uri="{FF2B5EF4-FFF2-40B4-BE49-F238E27FC236}">
                <a16:creationId xmlns:a16="http://schemas.microsoft.com/office/drawing/2014/main" id="{5F71479A-18DB-416B-A05B-38DC804C2BB7}"/>
              </a:ext>
            </a:extLst>
          </p:cNvPr>
          <p:cNvSpPr>
            <a:spLocks noGrp="1"/>
          </p:cNvSpPr>
          <p:nvPr>
            <p:ph type="dgm" sz="quarter" idx="14"/>
          </p:nvPr>
        </p:nvSpPr>
        <p:spPr/>
        <p:txBody>
          <a:bodyPr/>
          <a:lstStyle/>
          <a:p>
            <a:endParaRPr lang="zh-CN" altLang="en-US"/>
          </a:p>
        </p:txBody>
      </p:sp>
      <p:sp>
        <p:nvSpPr>
          <p:cNvPr id="10" name="Espace réservé du texte 9">
            <a:extLst>
              <a:ext uri="{FF2B5EF4-FFF2-40B4-BE49-F238E27FC236}">
                <a16:creationId xmlns:a16="http://schemas.microsoft.com/office/drawing/2014/main" id="{DE4AC86C-2729-44F8-8172-BB4BAA8DDF92}"/>
              </a:ext>
            </a:extLst>
          </p:cNvPr>
          <p:cNvSpPr>
            <a:spLocks noGrp="1"/>
          </p:cNvSpPr>
          <p:nvPr>
            <p:ph type="body" sz="quarter" idx="21"/>
          </p:nvPr>
        </p:nvSpPr>
        <p:spPr>
          <a:xfrm>
            <a:off x="1642703" y="885826"/>
            <a:ext cx="9230445" cy="3714750"/>
          </a:xfrm>
        </p:spPr>
        <p:txBody>
          <a:bodyPr/>
          <a:lstStyle/>
          <a:p>
            <a:r>
              <a:rPr lang="fr-FR" dirty="0" err="1">
                <a:latin typeface="Copperplate Gothic Bold" panose="020E0705020206020404" pitchFamily="34" charset="0"/>
              </a:rPr>
              <a:t>Mechanism</a:t>
            </a:r>
            <a:r>
              <a:rPr lang="fr-FR" dirty="0">
                <a:latin typeface="Copperplate Gothic Bold" panose="020E0705020206020404" pitchFamily="34" charset="0"/>
              </a:rPr>
              <a:t> and Principles</a:t>
            </a:r>
          </a:p>
          <a:p>
            <a:endParaRPr lang="fr-FR" dirty="0">
              <a:latin typeface="Copperplate Gothic Bold" panose="020E0705020206020404" pitchFamily="34" charset="0"/>
            </a:endParaRPr>
          </a:p>
        </p:txBody>
      </p:sp>
      <p:sp>
        <p:nvSpPr>
          <p:cNvPr id="3" name="日期占位符 2">
            <a:extLst>
              <a:ext uri="{FF2B5EF4-FFF2-40B4-BE49-F238E27FC236}">
                <a16:creationId xmlns:a16="http://schemas.microsoft.com/office/drawing/2014/main" id="{BB48FAFE-58ED-2EDB-47C0-CE9579952E5F}"/>
              </a:ext>
            </a:extLst>
          </p:cNvPr>
          <p:cNvSpPr>
            <a:spLocks noGrp="1"/>
          </p:cNvSpPr>
          <p:nvPr>
            <p:ph type="dt" sz="half" idx="15"/>
          </p:nvPr>
        </p:nvSpPr>
        <p:spPr/>
        <p:txBody>
          <a:bodyPr/>
          <a:lstStyle/>
          <a:p>
            <a:r>
              <a:rPr lang="en-US" altLang="zh-CN" noProof="0"/>
              <a:t>28 . Mar . 2025</a:t>
            </a:r>
            <a:endParaRPr lang="en-US" noProof="0"/>
          </a:p>
        </p:txBody>
      </p:sp>
    </p:spTree>
    <p:extLst>
      <p:ext uri="{BB962C8B-B14F-4D97-AF65-F5344CB8AC3E}">
        <p14:creationId xmlns:p14="http://schemas.microsoft.com/office/powerpoint/2010/main" val="357374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sz="4000" b="1" i="1">
                <a:latin typeface="微软雅黑" panose="020B0503020204020204" pitchFamily="34" charset="-122"/>
                <a:ea typeface="微软雅黑" panose="020B0503020204020204" pitchFamily="34" charset="-122"/>
              </a:rPr>
              <a:t>easeP21: </a:t>
            </a:r>
            <a:r>
              <a:rPr lang="fr-FR" sz="3200" b="1" err="1">
                <a:latin typeface="微软雅黑" panose="020B0503020204020204" pitchFamily="34" charset="-122"/>
                <a:ea typeface="微软雅黑" panose="020B0503020204020204" pitchFamily="34" charset="-122"/>
              </a:rPr>
              <a:t>Summary</a:t>
            </a:r>
            <a:endParaRPr lang="en-US"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BAC24B55-4772-EE6C-6017-778DA1AB4952}"/>
              </a:ext>
            </a:extLst>
          </p:cNvPr>
          <p:cNvSpPr txBox="1"/>
          <p:nvPr/>
        </p:nvSpPr>
        <p:spPr>
          <a:xfrm>
            <a:off x="566928" y="868160"/>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Concept and Solution</a:t>
            </a:r>
            <a:endParaRPr lang="zh-CN" altLang="en-US" sz="2400" b="1" dirty="0">
              <a:latin typeface="微软雅黑" panose="020B0503020204020204" pitchFamily="34" charset="-122"/>
              <a:ea typeface="微软雅黑" panose="020B0503020204020204" pitchFamily="34" charset="-122"/>
            </a:endParaRPr>
          </a:p>
        </p:txBody>
      </p:sp>
      <p:pic>
        <p:nvPicPr>
          <p:cNvPr id="5" name="图片 4">
            <a:extLst>
              <a:ext uri="{FF2B5EF4-FFF2-40B4-BE49-F238E27FC236}">
                <a16:creationId xmlns:a16="http://schemas.microsoft.com/office/drawing/2014/main" id="{0E87D36A-BC60-B206-3445-E47DCE49B5CB}"/>
              </a:ext>
            </a:extLst>
          </p:cNvPr>
          <p:cNvPicPr>
            <a:picLocks noChangeAspect="1"/>
          </p:cNvPicPr>
          <p:nvPr/>
        </p:nvPicPr>
        <p:blipFill>
          <a:blip r:embed="rId4"/>
          <a:srcRect r="922"/>
          <a:stretch/>
        </p:blipFill>
        <p:spPr>
          <a:xfrm>
            <a:off x="150692" y="1525561"/>
            <a:ext cx="9663112" cy="4464279"/>
          </a:xfrm>
          <a:prstGeom prst="rect">
            <a:avLst/>
          </a:prstGeom>
        </p:spPr>
      </p:pic>
      <p:sp>
        <p:nvSpPr>
          <p:cNvPr id="7" name="箭头: 右 6">
            <a:extLst>
              <a:ext uri="{FF2B5EF4-FFF2-40B4-BE49-F238E27FC236}">
                <a16:creationId xmlns:a16="http://schemas.microsoft.com/office/drawing/2014/main" id="{979F945A-A808-F8FE-8FDF-5845F4D209DF}"/>
              </a:ext>
            </a:extLst>
          </p:cNvPr>
          <p:cNvSpPr/>
          <p:nvPr/>
        </p:nvSpPr>
        <p:spPr>
          <a:xfrm>
            <a:off x="8626751" y="3241967"/>
            <a:ext cx="476250" cy="3048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a:extLst>
              <a:ext uri="{FF2B5EF4-FFF2-40B4-BE49-F238E27FC236}">
                <a16:creationId xmlns:a16="http://schemas.microsoft.com/office/drawing/2014/main" id="{1E209A39-D191-4265-A197-3D5C5FD04200}"/>
              </a:ext>
            </a:extLst>
          </p:cNvPr>
          <p:cNvSpPr txBox="1"/>
          <p:nvPr/>
        </p:nvSpPr>
        <p:spPr>
          <a:xfrm>
            <a:off x="9103001" y="3059860"/>
            <a:ext cx="3088999" cy="646331"/>
          </a:xfrm>
          <a:prstGeom prst="rect">
            <a:avLst/>
          </a:prstGeom>
          <a:noFill/>
        </p:spPr>
        <p:txBody>
          <a:bodyPr wrap="square" rtlCol="0">
            <a:spAutoFit/>
          </a:bodyPr>
          <a:lstStyle/>
          <a:p>
            <a:r>
              <a:rPr lang="en-US" altLang="zh-CN" sz="1800" b="1" dirty="0">
                <a:solidFill>
                  <a:srgbClr val="C00000"/>
                </a:solidFill>
              </a:rPr>
              <a:t>rules-based automatic processing</a:t>
            </a:r>
            <a:endParaRPr lang="zh-CN" altLang="en-US" b="1" dirty="0"/>
          </a:p>
        </p:txBody>
      </p:sp>
      <p:sp>
        <p:nvSpPr>
          <p:cNvPr id="4" name="日期占位符 3">
            <a:extLst>
              <a:ext uri="{FF2B5EF4-FFF2-40B4-BE49-F238E27FC236}">
                <a16:creationId xmlns:a16="http://schemas.microsoft.com/office/drawing/2014/main" id="{C0D6407C-71D9-3A7C-4B18-C7FD6D93DAAA}"/>
              </a:ext>
            </a:extLst>
          </p:cNvPr>
          <p:cNvSpPr>
            <a:spLocks noGrp="1"/>
          </p:cNvSpPr>
          <p:nvPr>
            <p:ph type="dt" sz="half" idx="11"/>
          </p:nvPr>
        </p:nvSpPr>
        <p:spPr/>
        <p:txBody>
          <a:bodyPr/>
          <a:lstStyle/>
          <a:p>
            <a:r>
              <a:rPr lang="en-US" altLang="zh-CN" noProof="0"/>
              <a:t>28 . Mar . 2025</a:t>
            </a:r>
            <a:endParaRPr lang="en-US" noProof="0" dirty="0"/>
          </a:p>
        </p:txBody>
      </p:sp>
      <p:sp>
        <p:nvSpPr>
          <p:cNvPr id="10" name="灯片编号占位符 9">
            <a:extLst>
              <a:ext uri="{FF2B5EF4-FFF2-40B4-BE49-F238E27FC236}">
                <a16:creationId xmlns:a16="http://schemas.microsoft.com/office/drawing/2014/main" id="{70E7649B-0FB2-0A0F-367E-161F400BF1BD}"/>
              </a:ext>
            </a:extLst>
          </p:cNvPr>
          <p:cNvSpPr>
            <a:spLocks noGrp="1"/>
          </p:cNvSpPr>
          <p:nvPr>
            <p:ph type="sldNum" sz="quarter" idx="12"/>
          </p:nvPr>
        </p:nvSpPr>
        <p:spPr/>
        <p:txBody>
          <a:bodyPr/>
          <a:lstStyle/>
          <a:p>
            <a:fld id="{6B54B0F7-55DD-40D6-B7F4-70B586885C0B}" type="slidenum">
              <a:rPr lang="en-US" smtClean="0"/>
              <a:pPr/>
              <a:t>14</a:t>
            </a:fld>
            <a:r>
              <a:rPr lang="en-US"/>
              <a:t>/37</a:t>
            </a:r>
            <a:endParaRPr lang="en-US" noProof="0" dirty="0"/>
          </a:p>
        </p:txBody>
      </p:sp>
    </p:spTree>
    <p:custDataLst>
      <p:tags r:id="rId1"/>
    </p:custDataLst>
    <p:extLst>
      <p:ext uri="{BB962C8B-B14F-4D97-AF65-F5344CB8AC3E}">
        <p14:creationId xmlns:p14="http://schemas.microsoft.com/office/powerpoint/2010/main" val="424698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59747" y="912075"/>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1. C</a:t>
            </a:r>
            <a:r>
              <a:rPr lang="en-US" altLang="zh-CN" sz="2000" b="1" i="0" dirty="0">
                <a:effectLst/>
                <a:latin typeface="微软雅黑" panose="020B0503020204020204" pitchFamily="34" charset="-122"/>
                <a:ea typeface="微软雅黑" panose="020B0503020204020204" pitchFamily="34" charset="-122"/>
              </a:rPr>
              <a:t>lassification of issues, and </a:t>
            </a:r>
            <a:r>
              <a:rPr lang="en-US" altLang="zh-CN" sz="2000" b="1" dirty="0">
                <a:latin typeface="微软雅黑" panose="020B0503020204020204" pitchFamily="34" charset="-122"/>
                <a:ea typeface="微软雅黑" panose="020B0503020204020204" pitchFamily="34" charset="-122"/>
              </a:rPr>
              <a:t>identification of </a:t>
            </a:r>
            <a:r>
              <a:rPr lang="en-US" altLang="zh-CN" sz="2000" b="1" i="0" dirty="0">
                <a:effectLst/>
                <a:latin typeface="微软雅黑" panose="020B0503020204020204" pitchFamily="34" charset="-122"/>
                <a:ea typeface="微软雅黑" panose="020B0503020204020204" pitchFamily="34" charset="-122"/>
              </a:rPr>
              <a:t>responsible personnel</a:t>
            </a:r>
            <a:endParaRPr lang="zh-CN" altLang="en-US" sz="20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71D0F878-8C72-1656-D669-24AF131F5EE3}"/>
              </a:ext>
            </a:extLst>
          </p:cNvPr>
          <p:cNvSpPr txBox="1"/>
          <p:nvPr/>
        </p:nvSpPr>
        <p:spPr>
          <a:xfrm>
            <a:off x="651063" y="1423173"/>
            <a:ext cx="6301212" cy="369332"/>
          </a:xfrm>
          <a:prstGeom prst="rect">
            <a:avLst/>
          </a:prstGeom>
          <a:noFill/>
        </p:spPr>
        <p:txBody>
          <a:bodyPr wrap="square" rtlCol="0">
            <a:spAutoFit/>
          </a:bodyPr>
          <a:lstStyle/>
          <a:p>
            <a:r>
              <a:rPr lang="en-US" altLang="zh-CN" b="1" dirty="0">
                <a:solidFill>
                  <a:srgbClr val="C00000"/>
                </a:solidFill>
              </a:rPr>
              <a:t>Company-specific rules file</a:t>
            </a:r>
            <a:endParaRPr lang="zh-CN" altLang="en-US" b="1" dirty="0">
              <a:solidFill>
                <a:srgbClr val="C00000"/>
              </a:solidFill>
            </a:endParaRPr>
          </a:p>
        </p:txBody>
      </p:sp>
      <p:sp>
        <p:nvSpPr>
          <p:cNvPr id="2" name="TextBox 3">
            <a:extLst>
              <a:ext uri="{FF2B5EF4-FFF2-40B4-BE49-F238E27FC236}">
                <a16:creationId xmlns:a16="http://schemas.microsoft.com/office/drawing/2014/main" id="{63B9DF9C-3FB2-CF87-D4D4-DB5A6957508C}"/>
              </a:ext>
            </a:extLst>
          </p:cNvPr>
          <p:cNvSpPr txBox="1"/>
          <p:nvPr/>
        </p:nvSpPr>
        <p:spPr>
          <a:xfrm>
            <a:off x="745426" y="1835013"/>
            <a:ext cx="10701148" cy="365741"/>
          </a:xfrm>
          <a:prstGeom prst="rect">
            <a:avLst/>
          </a:prstGeom>
          <a:noFill/>
        </p:spPr>
        <p:txBody>
          <a:bodyPr wrap="square">
            <a:spAutoFit/>
          </a:bodyPr>
          <a:lstStyle/>
          <a:p>
            <a:pPr marL="285750" indent="-285750">
              <a:lnSpc>
                <a:spcPct val="125000"/>
              </a:lnSpc>
              <a:buFont typeface="Arial" panose="020B0604020202020204" pitchFamily="34" charset="0"/>
              <a:buChar char="•"/>
            </a:pPr>
            <a:r>
              <a:rPr lang="en-US" sz="1600" b="1" dirty="0">
                <a:solidFill>
                  <a:schemeClr val="accent2">
                    <a:lumMod val="50000"/>
                  </a:schemeClr>
                </a:solidFill>
                <a:ea typeface="+mj-ea"/>
              </a:rPr>
              <a:t>Identity issues category</a:t>
            </a:r>
            <a:r>
              <a:rPr lang="en-US" sz="1600" dirty="0">
                <a:ea typeface="+mj-ea"/>
              </a:rPr>
              <a:t>: data issues, mapping issue, </a:t>
            </a:r>
            <a:r>
              <a:rPr lang="en-US" altLang="zh-CN" sz="1600" dirty="0">
                <a:ea typeface="+mj-ea"/>
              </a:rPr>
              <a:t>derivation</a:t>
            </a:r>
            <a:r>
              <a:rPr lang="en-US" sz="1600" dirty="0">
                <a:ea typeface="+mj-ea"/>
              </a:rPr>
              <a:t> issues, ongoing study</a:t>
            </a:r>
          </a:p>
        </p:txBody>
      </p:sp>
      <p:pic>
        <p:nvPicPr>
          <p:cNvPr id="4" name="图片 3">
            <a:extLst>
              <a:ext uri="{FF2B5EF4-FFF2-40B4-BE49-F238E27FC236}">
                <a16:creationId xmlns:a16="http://schemas.microsoft.com/office/drawing/2014/main" id="{6C557CDE-F71B-F731-5804-49F558211308}"/>
              </a:ext>
            </a:extLst>
          </p:cNvPr>
          <p:cNvPicPr>
            <a:picLocks noChangeAspect="1"/>
          </p:cNvPicPr>
          <p:nvPr/>
        </p:nvPicPr>
        <p:blipFill>
          <a:blip r:embed="rId4"/>
          <a:stretch>
            <a:fillRect/>
          </a:stretch>
        </p:blipFill>
        <p:spPr>
          <a:xfrm>
            <a:off x="1128712" y="2243262"/>
            <a:ext cx="10582276" cy="1700088"/>
          </a:xfrm>
          <a:prstGeom prst="rect">
            <a:avLst/>
          </a:prstGeom>
        </p:spPr>
      </p:pic>
      <p:sp>
        <p:nvSpPr>
          <p:cNvPr id="5" name="TextBox 3">
            <a:extLst>
              <a:ext uri="{FF2B5EF4-FFF2-40B4-BE49-F238E27FC236}">
                <a16:creationId xmlns:a16="http://schemas.microsoft.com/office/drawing/2014/main" id="{EF1596A8-E99C-E2FD-A79F-C958105AEA63}"/>
              </a:ext>
            </a:extLst>
          </p:cNvPr>
          <p:cNvSpPr txBox="1"/>
          <p:nvPr/>
        </p:nvSpPr>
        <p:spPr>
          <a:xfrm>
            <a:off x="745426" y="4078885"/>
            <a:ext cx="10701148" cy="365741"/>
          </a:xfrm>
          <a:prstGeom prst="rect">
            <a:avLst/>
          </a:prstGeom>
          <a:noFill/>
        </p:spPr>
        <p:txBody>
          <a:bodyPr wrap="square">
            <a:spAutoFit/>
          </a:bodyPr>
          <a:lstStyle/>
          <a:p>
            <a:pPr marL="285750" indent="-285750">
              <a:lnSpc>
                <a:spcPct val="125000"/>
              </a:lnSpc>
              <a:buFont typeface="Arial" panose="020B0604020202020204" pitchFamily="34" charset="0"/>
              <a:buChar char="•"/>
            </a:pPr>
            <a:r>
              <a:rPr lang="en-US" sz="1600" b="1" dirty="0">
                <a:solidFill>
                  <a:schemeClr val="accent2">
                    <a:lumMod val="50000"/>
                  </a:schemeClr>
                </a:solidFill>
                <a:ea typeface="+mj-ea"/>
              </a:rPr>
              <a:t>Provide fix tips</a:t>
            </a:r>
            <a:r>
              <a:rPr lang="en-US" sz="1600" dirty="0">
                <a:ea typeface="+mj-ea"/>
              </a:rPr>
              <a:t>: action plan , data reviewer guide explanation example </a:t>
            </a:r>
          </a:p>
        </p:txBody>
      </p:sp>
      <p:pic>
        <p:nvPicPr>
          <p:cNvPr id="10" name="Picture 5" descr="A screenshot of a computer&#10;&#10;AI-generated content may be incorrect.">
            <a:extLst>
              <a:ext uri="{FF2B5EF4-FFF2-40B4-BE49-F238E27FC236}">
                <a16:creationId xmlns:a16="http://schemas.microsoft.com/office/drawing/2014/main" id="{87621FF0-F16B-CA6A-2F4C-84845A4AB1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8712" y="4458611"/>
            <a:ext cx="10582276" cy="1790403"/>
          </a:xfrm>
          <a:prstGeom prst="rect">
            <a:avLst/>
          </a:prstGeom>
        </p:spPr>
      </p:pic>
      <p:sp>
        <p:nvSpPr>
          <p:cNvPr id="8" name="日期占位符 7">
            <a:extLst>
              <a:ext uri="{FF2B5EF4-FFF2-40B4-BE49-F238E27FC236}">
                <a16:creationId xmlns:a16="http://schemas.microsoft.com/office/drawing/2014/main" id="{FDF1C880-19EB-022D-327A-65C82FF501A2}"/>
              </a:ext>
            </a:extLst>
          </p:cNvPr>
          <p:cNvSpPr>
            <a:spLocks noGrp="1"/>
          </p:cNvSpPr>
          <p:nvPr>
            <p:ph type="dt" sz="half" idx="11"/>
          </p:nvPr>
        </p:nvSpPr>
        <p:spPr>
          <a:xfrm>
            <a:off x="4724400" y="6398092"/>
            <a:ext cx="2743200" cy="366183"/>
          </a:xfrm>
        </p:spPr>
        <p:txBody>
          <a:bodyPr/>
          <a:lstStyle/>
          <a:p>
            <a:r>
              <a:rPr lang="en-US" altLang="zh-CN" noProof="0" dirty="0"/>
              <a:t>28 . Mar . 2025</a:t>
            </a:r>
            <a:endParaRPr lang="en-US" noProof="0" dirty="0"/>
          </a:p>
        </p:txBody>
      </p:sp>
      <p:sp>
        <p:nvSpPr>
          <p:cNvPr id="12" name="灯片编号占位符 11">
            <a:extLst>
              <a:ext uri="{FF2B5EF4-FFF2-40B4-BE49-F238E27FC236}">
                <a16:creationId xmlns:a16="http://schemas.microsoft.com/office/drawing/2014/main" id="{0C6BEB0F-14C2-6134-56AA-2CA3E1C4A391}"/>
              </a:ext>
            </a:extLst>
          </p:cNvPr>
          <p:cNvSpPr>
            <a:spLocks noGrp="1"/>
          </p:cNvSpPr>
          <p:nvPr>
            <p:ph type="sldNum" sz="quarter" idx="12"/>
          </p:nvPr>
        </p:nvSpPr>
        <p:spPr/>
        <p:txBody>
          <a:bodyPr/>
          <a:lstStyle/>
          <a:p>
            <a:fld id="{6B54B0F7-55DD-40D6-B7F4-70B586885C0B}" type="slidenum">
              <a:rPr lang="en-US" smtClean="0"/>
              <a:pPr/>
              <a:t>15</a:t>
            </a:fld>
            <a:r>
              <a:rPr lang="en-US"/>
              <a:t>/37</a:t>
            </a:r>
            <a:endParaRPr lang="en-US" noProof="0" dirty="0"/>
          </a:p>
        </p:txBody>
      </p:sp>
    </p:spTree>
    <p:custDataLst>
      <p:tags r:id="rId1"/>
    </p:custDataLst>
    <p:extLst>
      <p:ext uri="{BB962C8B-B14F-4D97-AF65-F5344CB8AC3E}">
        <p14:creationId xmlns:p14="http://schemas.microsoft.com/office/powerpoint/2010/main" val="1850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59747" y="912075"/>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1. C</a:t>
            </a:r>
            <a:r>
              <a:rPr lang="en-US" altLang="zh-CN" sz="2000" b="1" i="0" dirty="0">
                <a:effectLst/>
                <a:latin typeface="微软雅黑" panose="020B0503020204020204" pitchFamily="34" charset="-122"/>
                <a:ea typeface="微软雅黑" panose="020B0503020204020204" pitchFamily="34" charset="-122"/>
              </a:rPr>
              <a:t>lassification of issues, and </a:t>
            </a:r>
            <a:r>
              <a:rPr lang="en-US" altLang="zh-CN" sz="2000" b="1" dirty="0">
                <a:latin typeface="微软雅黑" panose="020B0503020204020204" pitchFamily="34" charset="-122"/>
                <a:ea typeface="微软雅黑" panose="020B0503020204020204" pitchFamily="34" charset="-122"/>
              </a:rPr>
              <a:t>identification of </a:t>
            </a:r>
            <a:r>
              <a:rPr lang="en-US" altLang="zh-CN" sz="2000" b="1" i="0" dirty="0">
                <a:effectLst/>
                <a:latin typeface="微软雅黑" panose="020B0503020204020204" pitchFamily="34" charset="-122"/>
                <a:ea typeface="微软雅黑" panose="020B0503020204020204" pitchFamily="34" charset="-122"/>
              </a:rPr>
              <a:t>responsible personnel</a:t>
            </a:r>
            <a:endParaRPr lang="zh-CN" altLang="en-US" sz="20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71D0F878-8C72-1656-D669-24AF131F5EE3}"/>
              </a:ext>
            </a:extLst>
          </p:cNvPr>
          <p:cNvSpPr txBox="1"/>
          <p:nvPr/>
        </p:nvSpPr>
        <p:spPr>
          <a:xfrm>
            <a:off x="529957" y="1468702"/>
            <a:ext cx="7377151" cy="369332"/>
          </a:xfrm>
          <a:prstGeom prst="rect">
            <a:avLst/>
          </a:prstGeom>
          <a:noFill/>
        </p:spPr>
        <p:txBody>
          <a:bodyPr wrap="square" rtlCol="0">
            <a:spAutoFit/>
          </a:bodyPr>
          <a:lstStyle/>
          <a:p>
            <a:r>
              <a:rPr lang="en-US" altLang="zh-CN" b="1" dirty="0">
                <a:solidFill>
                  <a:srgbClr val="C00000"/>
                </a:solidFill>
              </a:rPr>
              <a:t>Sanofi: P21_Decision_Version_Engine_version.xlsx</a:t>
            </a:r>
            <a:endParaRPr lang="zh-CN" altLang="en-US" b="1" dirty="0">
              <a:solidFill>
                <a:srgbClr val="C00000"/>
              </a:solidFill>
            </a:endParaRPr>
          </a:p>
        </p:txBody>
      </p:sp>
      <p:sp>
        <p:nvSpPr>
          <p:cNvPr id="8" name="文本框 7">
            <a:extLst>
              <a:ext uri="{FF2B5EF4-FFF2-40B4-BE49-F238E27FC236}">
                <a16:creationId xmlns:a16="http://schemas.microsoft.com/office/drawing/2014/main" id="{8EEE0EB2-2451-3B68-5DC0-1023DED71649}"/>
              </a:ext>
            </a:extLst>
          </p:cNvPr>
          <p:cNvSpPr txBox="1"/>
          <p:nvPr/>
        </p:nvSpPr>
        <p:spPr>
          <a:xfrm>
            <a:off x="8091053" y="2109979"/>
            <a:ext cx="4100947" cy="2862322"/>
          </a:xfrm>
          <a:prstGeom prst="rect">
            <a:avLst/>
          </a:prstGeom>
          <a:noFill/>
        </p:spPr>
        <p:txBody>
          <a:bodyPr wrap="square" rtlCol="0">
            <a:spAutoFit/>
          </a:bodyPr>
          <a:lstStyle/>
          <a:p>
            <a:pPr marL="342900" indent="-342900">
              <a:buAutoNum type="arabicPeriod"/>
            </a:pPr>
            <a:r>
              <a:rPr lang="en-US" altLang="zh-CN" b="0" i="0" dirty="0">
                <a:effectLst/>
                <a:latin typeface="-apple-system"/>
              </a:rPr>
              <a:t>One sheet represents one issue category</a:t>
            </a:r>
          </a:p>
          <a:p>
            <a:pPr marL="342900" indent="-342900">
              <a:buAutoNum type="arabicPeriod"/>
            </a:pPr>
            <a:r>
              <a:rPr lang="en-US" altLang="zh-CN" b="0" i="0" dirty="0">
                <a:effectLst/>
                <a:latin typeface="-apple-system"/>
              </a:rPr>
              <a:t>If a P21 issue can correspond to multiple categories, it should be distinguished based on the where clause.</a:t>
            </a:r>
          </a:p>
          <a:p>
            <a:pPr marL="342900" indent="-342900">
              <a:buAutoNum type="arabicPeriod"/>
            </a:pPr>
            <a:r>
              <a:rPr lang="en-US" altLang="zh-CN" dirty="0">
                <a:latin typeface="-apple-system"/>
              </a:rPr>
              <a:t>C</a:t>
            </a:r>
            <a:r>
              <a:rPr lang="en-US" altLang="zh-CN" b="0" i="0" dirty="0">
                <a:effectLst/>
                <a:latin typeface="-apple-system"/>
              </a:rPr>
              <a:t>onsidering </a:t>
            </a:r>
            <a:r>
              <a:rPr lang="en-US" altLang="zh-CN" dirty="0">
                <a:solidFill>
                  <a:srgbClr val="C00000"/>
                </a:solidFill>
                <a:latin typeface="-apple-system"/>
              </a:rPr>
              <a:t>pinnacle_21_id</a:t>
            </a:r>
            <a:r>
              <a:rPr lang="en-US" altLang="zh-CN" b="0" i="0" dirty="0">
                <a:effectLst/>
                <a:latin typeface="-apple-system"/>
              </a:rPr>
              <a:t>, </a:t>
            </a:r>
            <a:r>
              <a:rPr lang="en-US" altLang="zh-CN" dirty="0">
                <a:solidFill>
                  <a:srgbClr val="C00000"/>
                </a:solidFill>
                <a:latin typeface="-apple-system"/>
              </a:rPr>
              <a:t>domain</a:t>
            </a:r>
            <a:r>
              <a:rPr lang="en-US" altLang="zh-CN" b="0" i="0" dirty="0">
                <a:effectLst/>
                <a:latin typeface="-apple-system"/>
              </a:rPr>
              <a:t>, </a:t>
            </a:r>
            <a:r>
              <a:rPr lang="en-US" altLang="zh-CN" b="0" i="0" dirty="0">
                <a:solidFill>
                  <a:srgbClr val="C00000"/>
                </a:solidFill>
                <a:effectLst/>
                <a:latin typeface="-apple-system"/>
              </a:rPr>
              <a:t>message</a:t>
            </a:r>
            <a:r>
              <a:rPr lang="en-US" altLang="zh-CN" dirty="0">
                <a:latin typeface="-apple-system"/>
              </a:rPr>
              <a:t>,</a:t>
            </a:r>
            <a:r>
              <a:rPr lang="en-US" altLang="zh-CN" b="0" i="0" dirty="0">
                <a:effectLst/>
                <a:latin typeface="-apple-system"/>
              </a:rPr>
              <a:t> and </a:t>
            </a:r>
            <a:r>
              <a:rPr lang="en-US" altLang="zh-CN" b="0" i="0" dirty="0">
                <a:solidFill>
                  <a:srgbClr val="C00000"/>
                </a:solidFill>
                <a:effectLst/>
                <a:latin typeface="-apple-system"/>
              </a:rPr>
              <a:t>where clause </a:t>
            </a:r>
            <a:r>
              <a:rPr lang="en-US" altLang="zh-CN" b="0" i="0" dirty="0">
                <a:effectLst/>
                <a:latin typeface="-apple-system"/>
              </a:rPr>
              <a:t>comprehensively, make a judgment on the issue category.</a:t>
            </a:r>
          </a:p>
        </p:txBody>
      </p:sp>
      <p:pic>
        <p:nvPicPr>
          <p:cNvPr id="7" name="图片 6">
            <a:extLst>
              <a:ext uri="{FF2B5EF4-FFF2-40B4-BE49-F238E27FC236}">
                <a16:creationId xmlns:a16="http://schemas.microsoft.com/office/drawing/2014/main" id="{44A441F0-1A9C-5A7B-3403-E92541CB12D4}"/>
              </a:ext>
            </a:extLst>
          </p:cNvPr>
          <p:cNvPicPr>
            <a:picLocks noChangeAspect="1"/>
          </p:cNvPicPr>
          <p:nvPr/>
        </p:nvPicPr>
        <p:blipFill>
          <a:blip r:embed="rId4"/>
          <a:stretch>
            <a:fillRect/>
          </a:stretch>
        </p:blipFill>
        <p:spPr>
          <a:xfrm>
            <a:off x="442874" y="1921229"/>
            <a:ext cx="7572717" cy="2038979"/>
          </a:xfrm>
          <a:prstGeom prst="rect">
            <a:avLst/>
          </a:prstGeom>
        </p:spPr>
      </p:pic>
      <p:pic>
        <p:nvPicPr>
          <p:cNvPr id="11" name="图片 10">
            <a:extLst>
              <a:ext uri="{FF2B5EF4-FFF2-40B4-BE49-F238E27FC236}">
                <a16:creationId xmlns:a16="http://schemas.microsoft.com/office/drawing/2014/main" id="{079CFEEE-BC59-5A94-8A03-9AD51732D147}"/>
              </a:ext>
            </a:extLst>
          </p:cNvPr>
          <p:cNvPicPr>
            <a:picLocks noChangeAspect="1"/>
          </p:cNvPicPr>
          <p:nvPr/>
        </p:nvPicPr>
        <p:blipFill>
          <a:blip r:embed="rId5"/>
          <a:stretch>
            <a:fillRect/>
          </a:stretch>
        </p:blipFill>
        <p:spPr>
          <a:xfrm>
            <a:off x="442874" y="4070298"/>
            <a:ext cx="7572717" cy="2038979"/>
          </a:xfrm>
          <a:prstGeom prst="rect">
            <a:avLst/>
          </a:prstGeom>
        </p:spPr>
      </p:pic>
      <p:sp>
        <p:nvSpPr>
          <p:cNvPr id="4" name="日期占位符 3">
            <a:extLst>
              <a:ext uri="{FF2B5EF4-FFF2-40B4-BE49-F238E27FC236}">
                <a16:creationId xmlns:a16="http://schemas.microsoft.com/office/drawing/2014/main" id="{97B8F5B9-493E-D021-9BD3-B0D4874AB079}"/>
              </a:ext>
            </a:extLst>
          </p:cNvPr>
          <p:cNvSpPr>
            <a:spLocks noGrp="1"/>
          </p:cNvSpPr>
          <p:nvPr>
            <p:ph type="dt" sz="half" idx="11"/>
          </p:nvPr>
        </p:nvSpPr>
        <p:spPr>
          <a:xfrm>
            <a:off x="4724400" y="6335468"/>
            <a:ext cx="2743200" cy="366183"/>
          </a:xfrm>
        </p:spPr>
        <p:txBody>
          <a:bodyPr/>
          <a:lstStyle/>
          <a:p>
            <a:r>
              <a:rPr lang="en-US" altLang="zh-CN" noProof="0" dirty="0"/>
              <a:t>28 . Mar . 2025</a:t>
            </a:r>
            <a:endParaRPr lang="en-US" noProof="0" dirty="0"/>
          </a:p>
        </p:txBody>
      </p:sp>
      <p:sp>
        <p:nvSpPr>
          <p:cNvPr id="10" name="灯片编号占位符 9">
            <a:extLst>
              <a:ext uri="{FF2B5EF4-FFF2-40B4-BE49-F238E27FC236}">
                <a16:creationId xmlns:a16="http://schemas.microsoft.com/office/drawing/2014/main" id="{F49AD423-ECB3-9AD6-0952-4F73FC2ECF42}"/>
              </a:ext>
            </a:extLst>
          </p:cNvPr>
          <p:cNvSpPr>
            <a:spLocks noGrp="1"/>
          </p:cNvSpPr>
          <p:nvPr>
            <p:ph type="sldNum" sz="quarter" idx="12"/>
          </p:nvPr>
        </p:nvSpPr>
        <p:spPr/>
        <p:txBody>
          <a:bodyPr/>
          <a:lstStyle/>
          <a:p>
            <a:fld id="{6B54B0F7-55DD-40D6-B7F4-70B586885C0B}" type="slidenum">
              <a:rPr lang="en-US" smtClean="0"/>
              <a:pPr/>
              <a:t>16</a:t>
            </a:fld>
            <a:r>
              <a:rPr lang="en-US"/>
              <a:t>/37</a:t>
            </a:r>
            <a:endParaRPr lang="en-US" noProof="0" dirty="0"/>
          </a:p>
        </p:txBody>
      </p:sp>
    </p:spTree>
    <p:custDataLst>
      <p:tags r:id="rId1"/>
    </p:custDataLst>
    <p:extLst>
      <p:ext uri="{BB962C8B-B14F-4D97-AF65-F5344CB8AC3E}">
        <p14:creationId xmlns:p14="http://schemas.microsoft.com/office/powerpoint/2010/main" val="23318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59747" y="912075"/>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1. C</a:t>
            </a:r>
            <a:r>
              <a:rPr lang="en-US" altLang="zh-CN" sz="2000" b="1" i="0" dirty="0">
                <a:effectLst/>
                <a:latin typeface="微软雅黑" panose="020B0503020204020204" pitchFamily="34" charset="-122"/>
                <a:ea typeface="微软雅黑" panose="020B0503020204020204" pitchFamily="34" charset="-122"/>
              </a:rPr>
              <a:t>lassification of issues, and </a:t>
            </a:r>
            <a:r>
              <a:rPr lang="en-US" altLang="zh-CN" sz="2000" b="1" dirty="0">
                <a:latin typeface="微软雅黑" panose="020B0503020204020204" pitchFamily="34" charset="-122"/>
                <a:ea typeface="微软雅黑" panose="020B0503020204020204" pitchFamily="34" charset="-122"/>
              </a:rPr>
              <a:t>identification of </a:t>
            </a:r>
            <a:r>
              <a:rPr lang="en-US" altLang="zh-CN" sz="2000" b="1" i="0" dirty="0">
                <a:effectLst/>
                <a:latin typeface="微软雅黑" panose="020B0503020204020204" pitchFamily="34" charset="-122"/>
                <a:ea typeface="微软雅黑" panose="020B0503020204020204" pitchFamily="34" charset="-122"/>
              </a:rPr>
              <a:t>responsible personnel</a:t>
            </a:r>
            <a:endParaRPr lang="zh-CN" altLang="en-US" sz="2000" b="1"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71D0F878-8C72-1656-D669-24AF131F5EE3}"/>
              </a:ext>
            </a:extLst>
          </p:cNvPr>
          <p:cNvSpPr txBox="1"/>
          <p:nvPr/>
        </p:nvSpPr>
        <p:spPr>
          <a:xfrm>
            <a:off x="573501" y="1313064"/>
            <a:ext cx="6301212" cy="369332"/>
          </a:xfrm>
          <a:prstGeom prst="rect">
            <a:avLst/>
          </a:prstGeom>
          <a:noFill/>
        </p:spPr>
        <p:txBody>
          <a:bodyPr wrap="square" rtlCol="0">
            <a:spAutoFit/>
          </a:bodyPr>
          <a:lstStyle/>
          <a:p>
            <a:r>
              <a:rPr lang="en-US" altLang="zh-CN" b="1">
                <a:solidFill>
                  <a:srgbClr val="C00000"/>
                </a:solidFill>
              </a:rPr>
              <a:t>Where Clause</a:t>
            </a:r>
          </a:p>
        </p:txBody>
      </p:sp>
      <p:graphicFrame>
        <p:nvGraphicFramePr>
          <p:cNvPr id="2" name="表格 1">
            <a:extLst>
              <a:ext uri="{FF2B5EF4-FFF2-40B4-BE49-F238E27FC236}">
                <a16:creationId xmlns:a16="http://schemas.microsoft.com/office/drawing/2014/main" id="{3218D344-857D-F5A9-1ED8-2F76BD776C08}"/>
              </a:ext>
            </a:extLst>
          </p:cNvPr>
          <p:cNvGraphicFramePr>
            <a:graphicFrameLocks noGrp="1"/>
          </p:cNvGraphicFramePr>
          <p:nvPr/>
        </p:nvGraphicFramePr>
        <p:xfrm>
          <a:off x="592247" y="1714053"/>
          <a:ext cx="11007505" cy="4501264"/>
        </p:xfrm>
        <a:graphic>
          <a:graphicData uri="http://schemas.openxmlformats.org/drawingml/2006/table">
            <a:tbl>
              <a:tblPr firstRow="1" bandRow="1">
                <a:tableStyleId>{5C22544A-7EE6-4342-B048-85BDC9FD1C3A}</a:tableStyleId>
              </a:tblPr>
              <a:tblGrid>
                <a:gridCol w="919524">
                  <a:extLst>
                    <a:ext uri="{9D8B030D-6E8A-4147-A177-3AD203B41FA5}">
                      <a16:colId xmlns:a16="http://schemas.microsoft.com/office/drawing/2014/main" val="2001565506"/>
                    </a:ext>
                  </a:extLst>
                </a:gridCol>
                <a:gridCol w="1026653">
                  <a:extLst>
                    <a:ext uri="{9D8B030D-6E8A-4147-A177-3AD203B41FA5}">
                      <a16:colId xmlns:a16="http://schemas.microsoft.com/office/drawing/2014/main" val="3237946504"/>
                    </a:ext>
                  </a:extLst>
                </a:gridCol>
                <a:gridCol w="2390433">
                  <a:extLst>
                    <a:ext uri="{9D8B030D-6E8A-4147-A177-3AD203B41FA5}">
                      <a16:colId xmlns:a16="http://schemas.microsoft.com/office/drawing/2014/main" val="1724801216"/>
                    </a:ext>
                  </a:extLst>
                </a:gridCol>
                <a:gridCol w="4997512">
                  <a:extLst>
                    <a:ext uri="{9D8B030D-6E8A-4147-A177-3AD203B41FA5}">
                      <a16:colId xmlns:a16="http://schemas.microsoft.com/office/drawing/2014/main" val="403339186"/>
                    </a:ext>
                  </a:extLst>
                </a:gridCol>
                <a:gridCol w="1673383">
                  <a:extLst>
                    <a:ext uri="{9D8B030D-6E8A-4147-A177-3AD203B41FA5}">
                      <a16:colId xmlns:a16="http://schemas.microsoft.com/office/drawing/2014/main" val="1471155677"/>
                    </a:ext>
                  </a:extLst>
                </a:gridCol>
              </a:tblGrid>
              <a:tr h="370840">
                <a:tc>
                  <a:txBody>
                    <a:bodyPr/>
                    <a:lstStyle/>
                    <a:p>
                      <a:pPr algn="ctr"/>
                      <a:r>
                        <a:rPr lang="en-US" altLang="zh-CN" sz="1400">
                          <a:solidFill>
                            <a:schemeClr val="tx1"/>
                          </a:solidFill>
                          <a:latin typeface="+mn-lt"/>
                        </a:rPr>
                        <a:t>P21_id</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ltLang="zh-CN" sz="1400">
                          <a:solidFill>
                            <a:schemeClr val="tx1"/>
                          </a:solidFill>
                          <a:latin typeface="+mn-lt"/>
                        </a:rPr>
                        <a:t>Domain</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ltLang="zh-CN" sz="1400">
                          <a:solidFill>
                            <a:schemeClr val="tx1"/>
                          </a:solidFill>
                          <a:latin typeface="+mn-lt"/>
                        </a:rPr>
                        <a:t>messag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ltLang="zh-CN" sz="1400">
                          <a:solidFill>
                            <a:schemeClr val="tx1"/>
                          </a:solidFill>
                          <a:latin typeface="+mn-lt"/>
                        </a:rPr>
                        <a:t>Where claus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ltLang="zh-CN" sz="1400">
                          <a:solidFill>
                            <a:schemeClr val="tx1"/>
                          </a:solidFill>
                          <a:latin typeface="+mn-lt"/>
                        </a:rPr>
                        <a:t>Issue typ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0050226"/>
                  </a:ext>
                </a:extLst>
              </a:tr>
              <a:tr h="370840">
                <a:tc>
                  <a:txBody>
                    <a:bodyPr/>
                    <a:lstStyle/>
                    <a:p>
                      <a:pPr algn="ctr"/>
                      <a:r>
                        <a:rPr lang="en-US" altLang="zh-CN" sz="1400">
                          <a:solidFill>
                            <a:schemeClr val="tx1"/>
                          </a:solidFill>
                          <a:latin typeface="+mn-lt"/>
                        </a:rPr>
                        <a:t>SD0021</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AE</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Missing End Time-Point value</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AEOUT IN ('RECOVERED/RESOLVED', 'RECOVERED/RESOLVED WITH SEQUELA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Data issu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87954204"/>
                  </a:ext>
                </a:extLst>
              </a:tr>
              <a:tr h="370840">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AEOUT NOT IN ('RECOVERED/RESOLVED', 'RECOVERED/RESOLVED WITH SEQUELA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Ongoing study</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4762922"/>
                  </a:ext>
                </a:extLst>
              </a:tr>
              <a:tr h="370840">
                <a:tc>
                  <a:txBody>
                    <a:bodyPr/>
                    <a:lstStyle/>
                    <a:p>
                      <a:pPr algn="ctr"/>
                      <a:r>
                        <a:rPr lang="en-US" altLang="zh-CN" sz="1400">
                          <a:solidFill>
                            <a:schemeClr val="tx1"/>
                          </a:solidFill>
                          <a:latin typeface="+mn-lt"/>
                        </a:rPr>
                        <a:t>SD0080</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AE</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AE start date is after the latest Disposition date</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USUBJID IN (USUBJID in DS where DSDECOD="LAST CONTACT")</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altLang="zh-CN" sz="1400">
                          <a:solidFill>
                            <a:schemeClr val="tx1"/>
                          </a:solidFill>
                          <a:latin typeface="+mn-lt"/>
                        </a:rPr>
                        <a:t>Data issue</a:t>
                      </a:r>
                      <a:endParaRPr lang="zh-CN" altLang="en-US" sz="1400">
                        <a:solidFill>
                          <a:schemeClr val="tx1"/>
                        </a:solidFill>
                        <a:latin typeface="+mn-lt"/>
                      </a:endParaRPr>
                    </a:p>
                    <a:p>
                      <a:pPr algn="ct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7012847"/>
                  </a:ext>
                </a:extLst>
              </a:tr>
              <a:tr h="370840">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USUBJID NOT IN (USUBJID in DS where DSDECOD="LAST CONTACT")</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altLang="zh-CN" sz="1400">
                          <a:solidFill>
                            <a:schemeClr val="tx1"/>
                          </a:solidFill>
                          <a:latin typeface="+mn-lt"/>
                        </a:rPr>
                        <a:t>Ongoing study</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83919325"/>
                  </a:ext>
                </a:extLst>
              </a:tr>
              <a:tr h="370840">
                <a:tc>
                  <a:txBody>
                    <a:bodyPr/>
                    <a:lstStyle/>
                    <a:p>
                      <a:pPr algn="ctr"/>
                      <a:r>
                        <a:rPr lang="en-US" altLang="zh-CN" sz="1400">
                          <a:solidFill>
                            <a:schemeClr val="tx1"/>
                          </a:solidFill>
                          <a:latin typeface="+mn-lt"/>
                        </a:rPr>
                        <a:t>SD0082</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EX</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altLang="zh-CN" sz="1400">
                          <a:solidFill>
                            <a:schemeClr val="tx1"/>
                          </a:solidFill>
                          <a:latin typeface="+mn-lt"/>
                        </a:rPr>
                        <a:t>EX END date is after the latest Disposition date</a:t>
                      </a: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USUBJID IN (USUBJID in DS where DSDECOD="LAST CONTACT")</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altLang="zh-CN" sz="1400">
                          <a:solidFill>
                            <a:schemeClr val="tx1"/>
                          </a:solidFill>
                          <a:latin typeface="+mn-lt"/>
                        </a:rPr>
                        <a:t>Data issue</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14070662"/>
                  </a:ext>
                </a:extLst>
              </a:tr>
              <a:tr h="370840">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zh-CN" altLang="en-US" sz="1400">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50000"/>
                        </a:lnSpc>
                      </a:pPr>
                      <a:r>
                        <a:rPr lang="en-US" altLang="zh-CN" sz="1400">
                          <a:solidFill>
                            <a:schemeClr val="tx1"/>
                          </a:solidFill>
                          <a:latin typeface="+mn-lt"/>
                        </a:rPr>
                        <a:t>USUBJID NOT IN (USUBJID in DS where DSDECOD="LAST CONTACT")</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altLang="zh-CN" sz="1400">
                          <a:solidFill>
                            <a:schemeClr val="tx1"/>
                          </a:solidFill>
                          <a:latin typeface="+mn-lt"/>
                        </a:rPr>
                        <a:t>Ongoing study</a:t>
                      </a:r>
                      <a:endParaRPr lang="zh-CN" altLang="en-US" sz="140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6056064"/>
                  </a:ext>
                </a:extLst>
              </a:tr>
            </a:tbl>
          </a:graphicData>
        </a:graphic>
      </p:graphicFrame>
      <p:sp>
        <p:nvSpPr>
          <p:cNvPr id="5" name="日期占位符 4">
            <a:extLst>
              <a:ext uri="{FF2B5EF4-FFF2-40B4-BE49-F238E27FC236}">
                <a16:creationId xmlns:a16="http://schemas.microsoft.com/office/drawing/2014/main" id="{E6B28880-2F68-6024-4D06-6F01B6EE175C}"/>
              </a:ext>
            </a:extLst>
          </p:cNvPr>
          <p:cNvSpPr>
            <a:spLocks noGrp="1"/>
          </p:cNvSpPr>
          <p:nvPr>
            <p:ph type="dt" sz="half" idx="11"/>
          </p:nvPr>
        </p:nvSpPr>
        <p:spPr>
          <a:xfrm>
            <a:off x="4724399" y="6335468"/>
            <a:ext cx="2743200" cy="366183"/>
          </a:xfrm>
        </p:spPr>
        <p:txBody>
          <a:bodyPr/>
          <a:lstStyle/>
          <a:p>
            <a:r>
              <a:rPr lang="en-US" altLang="zh-CN" noProof="0" dirty="0"/>
              <a:t>28 . Mar . 2025</a:t>
            </a:r>
            <a:endParaRPr lang="en-US" noProof="0" dirty="0"/>
          </a:p>
        </p:txBody>
      </p:sp>
      <p:sp>
        <p:nvSpPr>
          <p:cNvPr id="8" name="灯片编号占位符 7">
            <a:extLst>
              <a:ext uri="{FF2B5EF4-FFF2-40B4-BE49-F238E27FC236}">
                <a16:creationId xmlns:a16="http://schemas.microsoft.com/office/drawing/2014/main" id="{C572F986-775B-BA65-55CC-A4A599C332E1}"/>
              </a:ext>
            </a:extLst>
          </p:cNvPr>
          <p:cNvSpPr>
            <a:spLocks noGrp="1"/>
          </p:cNvSpPr>
          <p:nvPr>
            <p:ph type="sldNum" sz="quarter" idx="12"/>
          </p:nvPr>
        </p:nvSpPr>
        <p:spPr/>
        <p:txBody>
          <a:bodyPr/>
          <a:lstStyle/>
          <a:p>
            <a:fld id="{6B54B0F7-55DD-40D6-B7F4-70B586885C0B}" type="slidenum">
              <a:rPr lang="en-US" smtClean="0"/>
              <a:pPr/>
              <a:t>17</a:t>
            </a:fld>
            <a:r>
              <a:rPr lang="en-US"/>
              <a:t>/37</a:t>
            </a:r>
            <a:endParaRPr lang="en-US" noProof="0" dirty="0"/>
          </a:p>
        </p:txBody>
      </p:sp>
    </p:spTree>
    <p:custDataLst>
      <p:tags r:id="rId1"/>
    </p:custDataLst>
    <p:extLst>
      <p:ext uri="{BB962C8B-B14F-4D97-AF65-F5344CB8AC3E}">
        <p14:creationId xmlns:p14="http://schemas.microsoft.com/office/powerpoint/2010/main" val="422916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59747" y="912075"/>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1. C</a:t>
            </a:r>
            <a:r>
              <a:rPr lang="en-US" altLang="zh-CN" sz="2000" b="1" i="0" dirty="0">
                <a:effectLst/>
                <a:latin typeface="微软雅黑" panose="020B0503020204020204" pitchFamily="34" charset="-122"/>
                <a:ea typeface="微软雅黑" panose="020B0503020204020204" pitchFamily="34" charset="-122"/>
              </a:rPr>
              <a:t>lassification of issues, and </a:t>
            </a:r>
            <a:r>
              <a:rPr lang="en-US" altLang="zh-CN" sz="2000" b="1" dirty="0">
                <a:latin typeface="微软雅黑" panose="020B0503020204020204" pitchFamily="34" charset="-122"/>
                <a:ea typeface="微软雅黑" panose="020B0503020204020204" pitchFamily="34" charset="-122"/>
              </a:rPr>
              <a:t>identification of </a:t>
            </a:r>
            <a:r>
              <a:rPr lang="en-US" altLang="zh-CN" sz="2000" b="1" i="0" dirty="0">
                <a:effectLst/>
                <a:latin typeface="微软雅黑" panose="020B0503020204020204" pitchFamily="34" charset="-122"/>
                <a:ea typeface="微软雅黑" panose="020B0503020204020204" pitchFamily="34" charset="-122"/>
              </a:rPr>
              <a:t>responsible personnel</a:t>
            </a:r>
            <a:endParaRPr lang="zh-CN" altLang="en-US" sz="2000" b="1" dirty="0">
              <a:latin typeface="微软雅黑" panose="020B0503020204020204" pitchFamily="34" charset="-122"/>
              <a:ea typeface="微软雅黑" panose="020B0503020204020204" pitchFamily="34" charset="-122"/>
            </a:endParaRPr>
          </a:p>
        </p:txBody>
      </p:sp>
      <p:sp>
        <p:nvSpPr>
          <p:cNvPr id="4" name="ZoneTexte 14">
            <a:extLst>
              <a:ext uri="{FF2B5EF4-FFF2-40B4-BE49-F238E27FC236}">
                <a16:creationId xmlns:a16="http://schemas.microsoft.com/office/drawing/2014/main" id="{85B5161B-348C-638A-9948-26C0A3EAEE7B}"/>
              </a:ext>
            </a:extLst>
          </p:cNvPr>
          <p:cNvSpPr txBox="1"/>
          <p:nvPr/>
        </p:nvSpPr>
        <p:spPr>
          <a:xfrm>
            <a:off x="517693" y="1497730"/>
            <a:ext cx="8267007" cy="784574"/>
          </a:xfrm>
          <a:prstGeom prst="rect">
            <a:avLst/>
          </a:prstGeom>
          <a:noFill/>
        </p:spPr>
        <p:txBody>
          <a:bodyPr wrap="none" lIns="91440" tIns="45720" rIns="91440" bIns="45720" rtlCol="0" anchor="t">
            <a:spAutoFit/>
          </a:bodyPr>
          <a:lstStyle/>
          <a:p>
            <a:pPr indent="-285750">
              <a:lnSpc>
                <a:spcPct val="125000"/>
              </a:lnSpc>
              <a:spcAft>
                <a:spcPts val="300"/>
              </a:spcAft>
              <a:buFont typeface="Arial" panose="020B0604020202020204" pitchFamily="34" charset="0"/>
              <a:buChar char="•"/>
              <a:defRPr/>
            </a:pPr>
            <a:r>
              <a:rPr lang="en-US" b="1" dirty="0">
                <a:solidFill>
                  <a:srgbClr val="C00000"/>
                </a:solidFill>
              </a:rPr>
              <a:t>Categorize each finding according to these 4 types of issues</a:t>
            </a:r>
          </a:p>
          <a:p>
            <a:pPr indent="-285750">
              <a:lnSpc>
                <a:spcPct val="125000"/>
              </a:lnSpc>
              <a:spcAft>
                <a:spcPts val="300"/>
              </a:spcAft>
              <a:buFont typeface="Arial" panose="020B0604020202020204" pitchFamily="34" charset="0"/>
              <a:buChar char="•"/>
              <a:defRPr/>
            </a:pPr>
            <a:r>
              <a:rPr lang="en-US" altLang="zh-CN" b="1" dirty="0">
                <a:solidFill>
                  <a:srgbClr val="C00000"/>
                </a:solidFill>
              </a:rPr>
              <a:t>Specify the responsible personnel</a:t>
            </a:r>
            <a:endParaRPr lang="en-US" b="1" dirty="0">
              <a:solidFill>
                <a:srgbClr val="C00000"/>
              </a:solidFill>
            </a:endParaRPr>
          </a:p>
        </p:txBody>
      </p:sp>
      <p:graphicFrame>
        <p:nvGraphicFramePr>
          <p:cNvPr id="5" name="表格 4">
            <a:extLst>
              <a:ext uri="{FF2B5EF4-FFF2-40B4-BE49-F238E27FC236}">
                <a16:creationId xmlns:a16="http://schemas.microsoft.com/office/drawing/2014/main" id="{F7CD872E-FFCE-3C9A-F940-F0591226B9EF}"/>
              </a:ext>
            </a:extLst>
          </p:cNvPr>
          <p:cNvGraphicFramePr>
            <a:graphicFrameLocks noGrp="1"/>
          </p:cNvGraphicFramePr>
          <p:nvPr/>
        </p:nvGraphicFramePr>
        <p:xfrm>
          <a:off x="795196" y="2525596"/>
          <a:ext cx="11008877" cy="2818840"/>
        </p:xfrm>
        <a:graphic>
          <a:graphicData uri="http://schemas.openxmlformats.org/drawingml/2006/table">
            <a:tbl>
              <a:tblPr firstRow="1" bandRow="1">
                <a:tableStyleId>{5C22544A-7EE6-4342-B048-85BDC9FD1C3A}</a:tableStyleId>
              </a:tblPr>
              <a:tblGrid>
                <a:gridCol w="2936295">
                  <a:extLst>
                    <a:ext uri="{9D8B030D-6E8A-4147-A177-3AD203B41FA5}">
                      <a16:colId xmlns:a16="http://schemas.microsoft.com/office/drawing/2014/main" val="3926486705"/>
                    </a:ext>
                  </a:extLst>
                </a:gridCol>
                <a:gridCol w="3297382">
                  <a:extLst>
                    <a:ext uri="{9D8B030D-6E8A-4147-A177-3AD203B41FA5}">
                      <a16:colId xmlns:a16="http://schemas.microsoft.com/office/drawing/2014/main" val="1698266009"/>
                    </a:ext>
                  </a:extLst>
                </a:gridCol>
                <a:gridCol w="4775200">
                  <a:extLst>
                    <a:ext uri="{9D8B030D-6E8A-4147-A177-3AD203B41FA5}">
                      <a16:colId xmlns:a16="http://schemas.microsoft.com/office/drawing/2014/main" val="2766358835"/>
                    </a:ext>
                  </a:extLst>
                </a:gridCol>
              </a:tblGrid>
              <a:tr h="370840">
                <a:tc>
                  <a:txBody>
                    <a:bodyPr/>
                    <a:lstStyle/>
                    <a:p>
                      <a:pPr algn="ctr">
                        <a:spcBef>
                          <a:spcPts val="600"/>
                        </a:spcBef>
                        <a:spcAft>
                          <a:spcPts val="600"/>
                        </a:spcAft>
                      </a:pPr>
                      <a:r>
                        <a:rPr lang="en-US" altLang="zh-CN">
                          <a:solidFill>
                            <a:schemeClr val="tx1"/>
                          </a:solidFill>
                        </a:rPr>
                        <a:t>ROLE</a:t>
                      </a:r>
                      <a:endParaRPr lang="zh-CN" altLang="en-US">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panose="020F0502020204030204"/>
                        </a:defRPr>
                      </a:lvl1pPr>
                      <a:lvl2pPr marL="457189" algn="l" defTabSz="914377" rtl="0" eaLnBrk="1" latinLnBrk="0" hangingPunct="1">
                        <a:defRPr sz="1800" b="1" kern="1200">
                          <a:solidFill>
                            <a:schemeClr val="lt1"/>
                          </a:solidFill>
                          <a:latin typeface="Calibri" panose="020F0502020204030204"/>
                        </a:defRPr>
                      </a:lvl2pPr>
                      <a:lvl3pPr marL="914377" algn="l" defTabSz="914377" rtl="0" eaLnBrk="1" latinLnBrk="0" hangingPunct="1">
                        <a:defRPr sz="1800" b="1" kern="1200">
                          <a:solidFill>
                            <a:schemeClr val="lt1"/>
                          </a:solidFill>
                          <a:latin typeface="Calibri" panose="020F0502020204030204"/>
                        </a:defRPr>
                      </a:lvl3pPr>
                      <a:lvl4pPr marL="1371566" algn="l" defTabSz="914377" rtl="0" eaLnBrk="1" latinLnBrk="0" hangingPunct="1">
                        <a:defRPr sz="1800" b="1" kern="1200">
                          <a:solidFill>
                            <a:schemeClr val="lt1"/>
                          </a:solidFill>
                          <a:latin typeface="Calibri" panose="020F0502020204030204"/>
                        </a:defRPr>
                      </a:lvl4pPr>
                      <a:lvl5pPr marL="1828754" algn="l" defTabSz="914377" rtl="0" eaLnBrk="1" latinLnBrk="0" hangingPunct="1">
                        <a:defRPr sz="1800" b="1" kern="1200">
                          <a:solidFill>
                            <a:schemeClr val="lt1"/>
                          </a:solidFill>
                          <a:latin typeface="Calibri" panose="020F0502020204030204"/>
                        </a:defRPr>
                      </a:lvl5pPr>
                      <a:lvl6pPr marL="2285943" algn="l" defTabSz="914377" rtl="0" eaLnBrk="1" latinLnBrk="0" hangingPunct="1">
                        <a:defRPr sz="1800" b="1" kern="1200">
                          <a:solidFill>
                            <a:schemeClr val="lt1"/>
                          </a:solidFill>
                          <a:latin typeface="Calibri" panose="020F0502020204030204"/>
                        </a:defRPr>
                      </a:lvl6pPr>
                      <a:lvl7pPr marL="2743131" algn="l" defTabSz="914377" rtl="0" eaLnBrk="1" latinLnBrk="0" hangingPunct="1">
                        <a:defRPr sz="1800" b="1" kern="1200">
                          <a:solidFill>
                            <a:schemeClr val="lt1"/>
                          </a:solidFill>
                          <a:latin typeface="Calibri" panose="020F0502020204030204"/>
                        </a:defRPr>
                      </a:lvl7pPr>
                      <a:lvl8pPr marL="3200320" algn="l" defTabSz="914377" rtl="0" eaLnBrk="1" latinLnBrk="0" hangingPunct="1">
                        <a:defRPr sz="1800" b="1" kern="1200">
                          <a:solidFill>
                            <a:schemeClr val="lt1"/>
                          </a:solidFill>
                          <a:latin typeface="Calibri" panose="020F0502020204030204"/>
                        </a:defRPr>
                      </a:lvl8pPr>
                      <a:lvl9pPr marL="3657509" algn="l" defTabSz="914377" rtl="0" eaLnBrk="1" latinLnBrk="0" hangingPunct="1">
                        <a:defRPr sz="1800" b="1" kern="1200">
                          <a:solidFill>
                            <a:schemeClr val="lt1"/>
                          </a:solidFill>
                          <a:latin typeface="Calibri" panose="020F0502020204030204"/>
                        </a:defRPr>
                      </a:lvl9pPr>
                    </a:lstStyle>
                    <a:p>
                      <a:pPr algn="ctr">
                        <a:spcBef>
                          <a:spcPts val="600"/>
                        </a:spcBef>
                        <a:spcAft>
                          <a:spcPts val="600"/>
                        </a:spcAft>
                      </a:pPr>
                      <a:r>
                        <a:rPr lang="fr-FR" sz="1800" kern="1200">
                          <a:solidFill>
                            <a:schemeClr val="tx1"/>
                          </a:solidFill>
                          <a:latin typeface="+mn-lt"/>
                          <a:ea typeface="+mn-ea"/>
                          <a:cs typeface="+mn-cs"/>
                        </a:rPr>
                        <a:t>Type of issu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panose="020F0502020204030204"/>
                        </a:defRPr>
                      </a:lvl1pPr>
                      <a:lvl2pPr marL="457189" algn="l" defTabSz="914377" rtl="0" eaLnBrk="1" latinLnBrk="0" hangingPunct="1">
                        <a:defRPr sz="1800" b="1" kern="1200">
                          <a:solidFill>
                            <a:schemeClr val="lt1"/>
                          </a:solidFill>
                          <a:latin typeface="Calibri" panose="020F0502020204030204"/>
                        </a:defRPr>
                      </a:lvl2pPr>
                      <a:lvl3pPr marL="914377" algn="l" defTabSz="914377" rtl="0" eaLnBrk="1" latinLnBrk="0" hangingPunct="1">
                        <a:defRPr sz="1800" b="1" kern="1200">
                          <a:solidFill>
                            <a:schemeClr val="lt1"/>
                          </a:solidFill>
                          <a:latin typeface="Calibri" panose="020F0502020204030204"/>
                        </a:defRPr>
                      </a:lvl3pPr>
                      <a:lvl4pPr marL="1371566" algn="l" defTabSz="914377" rtl="0" eaLnBrk="1" latinLnBrk="0" hangingPunct="1">
                        <a:defRPr sz="1800" b="1" kern="1200">
                          <a:solidFill>
                            <a:schemeClr val="lt1"/>
                          </a:solidFill>
                          <a:latin typeface="Calibri" panose="020F0502020204030204"/>
                        </a:defRPr>
                      </a:lvl4pPr>
                      <a:lvl5pPr marL="1828754" algn="l" defTabSz="914377" rtl="0" eaLnBrk="1" latinLnBrk="0" hangingPunct="1">
                        <a:defRPr sz="1800" b="1" kern="1200">
                          <a:solidFill>
                            <a:schemeClr val="lt1"/>
                          </a:solidFill>
                          <a:latin typeface="Calibri" panose="020F0502020204030204"/>
                        </a:defRPr>
                      </a:lvl5pPr>
                      <a:lvl6pPr marL="2285943" algn="l" defTabSz="914377" rtl="0" eaLnBrk="1" latinLnBrk="0" hangingPunct="1">
                        <a:defRPr sz="1800" b="1" kern="1200">
                          <a:solidFill>
                            <a:schemeClr val="lt1"/>
                          </a:solidFill>
                          <a:latin typeface="Calibri" panose="020F0502020204030204"/>
                        </a:defRPr>
                      </a:lvl6pPr>
                      <a:lvl7pPr marL="2743131" algn="l" defTabSz="914377" rtl="0" eaLnBrk="1" latinLnBrk="0" hangingPunct="1">
                        <a:defRPr sz="1800" b="1" kern="1200">
                          <a:solidFill>
                            <a:schemeClr val="lt1"/>
                          </a:solidFill>
                          <a:latin typeface="Calibri" panose="020F0502020204030204"/>
                        </a:defRPr>
                      </a:lvl7pPr>
                      <a:lvl8pPr marL="3200320" algn="l" defTabSz="914377" rtl="0" eaLnBrk="1" latinLnBrk="0" hangingPunct="1">
                        <a:defRPr sz="1800" b="1" kern="1200">
                          <a:solidFill>
                            <a:schemeClr val="lt1"/>
                          </a:solidFill>
                          <a:latin typeface="Calibri" panose="020F0502020204030204"/>
                        </a:defRPr>
                      </a:lvl8pPr>
                      <a:lvl9pPr marL="3657509" algn="l" defTabSz="914377" rtl="0" eaLnBrk="1" latinLnBrk="0" hangingPunct="1">
                        <a:defRPr sz="1800" b="1" kern="1200">
                          <a:solidFill>
                            <a:schemeClr val="lt1"/>
                          </a:solidFill>
                          <a:latin typeface="Calibri" panose="020F0502020204030204"/>
                        </a:defRPr>
                      </a:lvl9pPr>
                    </a:lstStyle>
                    <a:p>
                      <a:pPr algn="ctr">
                        <a:spcBef>
                          <a:spcPts val="600"/>
                        </a:spcBef>
                        <a:spcAft>
                          <a:spcPts val="600"/>
                        </a:spcAft>
                      </a:pPr>
                      <a:r>
                        <a:rPr lang="en-US" altLang="zh-CN" b="1" i="0">
                          <a:solidFill>
                            <a:schemeClr val="tx1"/>
                          </a:solidFill>
                          <a:effectLst/>
                          <a:latin typeface="微软雅黑" panose="020B0503020204020204" pitchFamily="34" charset="-122"/>
                          <a:ea typeface="微软雅黑" panose="020B0503020204020204" pitchFamily="34" charset="-122"/>
                        </a:rPr>
                        <a:t>Responsible personnel</a:t>
                      </a:r>
                      <a:endParaRPr lang="fr-FR" sz="1800"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1048161"/>
                  </a:ext>
                </a:extLst>
              </a:tr>
              <a:tr h="612000">
                <a:tc>
                  <a:txBody>
                    <a:bodyPr/>
                    <a:lstStyle/>
                    <a:p>
                      <a:pPr algn="ctr">
                        <a:spcBef>
                          <a:spcPts val="600"/>
                        </a:spcBef>
                        <a:spcAft>
                          <a:spcPts val="600"/>
                        </a:spcAft>
                      </a:pPr>
                      <a:r>
                        <a:rPr lang="en-US" altLang="zh-CN"/>
                        <a:t>DATA ISSUE</a:t>
                      </a:r>
                      <a:endParaRPr lang="zh-CN" alt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800" kern="1200">
                          <a:solidFill>
                            <a:schemeClr val="tx1"/>
                          </a:solidFill>
                          <a:latin typeface="+mn-lt"/>
                          <a:ea typeface="+mn-ea"/>
                          <a:cs typeface="+mn-cs"/>
                        </a:rPr>
                        <a:t>Da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lvl="0" algn="ctr">
                        <a:spcBef>
                          <a:spcPts val="600"/>
                        </a:spcBef>
                        <a:spcAft>
                          <a:spcPts val="600"/>
                        </a:spcAft>
                      </a:pPr>
                      <a:r>
                        <a:rPr lang="en-US" sz="1800" kern="1200">
                          <a:solidFill>
                            <a:schemeClr val="tx1"/>
                          </a:solidFill>
                          <a:latin typeface="+mn-lt"/>
                          <a:ea typeface="+mn-ea"/>
                          <a:cs typeface="+mn-cs"/>
                        </a:rPr>
                        <a:t>Data Manager</a:t>
                      </a:r>
                      <a:endParaRPr lang="fr-FR" sz="1800"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643701"/>
                  </a:ext>
                </a:extLst>
              </a:tr>
              <a:tr h="612000">
                <a:tc>
                  <a:txBody>
                    <a:bodyPr/>
                    <a:lstStyle/>
                    <a:p>
                      <a:pPr algn="ctr">
                        <a:spcBef>
                          <a:spcPts val="600"/>
                        </a:spcBef>
                        <a:spcAft>
                          <a:spcPts val="600"/>
                        </a:spcAft>
                      </a:pPr>
                      <a:r>
                        <a:rPr lang="en-US" altLang="zh-CN"/>
                        <a:t>MAPPING ISSUE</a:t>
                      </a:r>
                      <a:endParaRPr lang="zh-CN" alt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800" kern="1200">
                          <a:solidFill>
                            <a:schemeClr val="tx1"/>
                          </a:solidFill>
                          <a:latin typeface="+mn-lt"/>
                          <a:ea typeface="+mn-ea"/>
                          <a:cs typeface="+mn-cs"/>
                        </a:rPr>
                        <a:t>Struc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algn="ctr">
                        <a:spcBef>
                          <a:spcPts val="600"/>
                        </a:spcBef>
                        <a:spcAft>
                          <a:spcPts val="600"/>
                        </a:spcAft>
                      </a:pPr>
                      <a:r>
                        <a:rPr lang="fr-FR" sz="1800" kern="1200">
                          <a:solidFill>
                            <a:schemeClr val="tx1"/>
                          </a:solidFill>
                          <a:latin typeface="+mn-lt"/>
                          <a:ea typeface="+mn-ea"/>
                          <a:cs typeface="+mn-cs"/>
                        </a:rPr>
                        <a:t>Programm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1047"/>
                  </a:ext>
                </a:extLst>
              </a:tr>
              <a:tr h="612000">
                <a:tc>
                  <a:txBody>
                    <a:bodyPr/>
                    <a:lstStyle/>
                    <a:p>
                      <a:pPr algn="ctr">
                        <a:spcBef>
                          <a:spcPts val="600"/>
                        </a:spcBef>
                        <a:spcAft>
                          <a:spcPts val="600"/>
                        </a:spcAft>
                      </a:pPr>
                      <a:r>
                        <a:rPr lang="en-US" altLang="zh-CN"/>
                        <a:t>DERIVATION ISSUE</a:t>
                      </a:r>
                      <a:endParaRPr lang="zh-CN" alt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800" kern="1200">
                          <a:solidFill>
                            <a:schemeClr val="tx1"/>
                          </a:solidFill>
                          <a:latin typeface="+mn-lt"/>
                          <a:ea typeface="+mn-ea"/>
                          <a:cs typeface="+mn-cs"/>
                        </a:rPr>
                        <a:t>Deriv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algn="ctr">
                        <a:spcBef>
                          <a:spcPts val="600"/>
                        </a:spcBef>
                        <a:spcAft>
                          <a:spcPts val="600"/>
                        </a:spcAft>
                      </a:pPr>
                      <a:r>
                        <a:rPr lang="fr-FR" sz="1800" kern="1200">
                          <a:solidFill>
                            <a:schemeClr val="tx1"/>
                          </a:solidFill>
                          <a:latin typeface="+mn-lt"/>
                          <a:ea typeface="+mn-ea"/>
                          <a:cs typeface="+mn-cs"/>
                        </a:rPr>
                        <a:t>Programm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2940211"/>
                  </a:ext>
                </a:extLst>
              </a:tr>
              <a:tr h="612000">
                <a:tc>
                  <a:txBody>
                    <a:bodyPr/>
                    <a:lstStyle/>
                    <a:p>
                      <a:pPr algn="ctr">
                        <a:spcBef>
                          <a:spcPts val="600"/>
                        </a:spcBef>
                        <a:spcAft>
                          <a:spcPts val="600"/>
                        </a:spcAft>
                      </a:pPr>
                      <a:r>
                        <a:rPr lang="en-US" altLang="zh-CN"/>
                        <a:t>ONGOING STUDY*</a:t>
                      </a:r>
                      <a:endParaRPr lang="zh-CN" alt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800" kern="1200">
                          <a:solidFill>
                            <a:schemeClr val="tx1"/>
                          </a:solidFill>
                          <a:latin typeface="+mn-lt"/>
                          <a:ea typeface="+mn-ea"/>
                          <a:cs typeface="+mn-cs"/>
                        </a:rPr>
                        <a:t>Due to ongoing stu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panose="020F0502020204030204"/>
                        </a:defRPr>
                      </a:lvl1pPr>
                      <a:lvl2pPr marL="457189" algn="l" defTabSz="914377" rtl="0" eaLnBrk="1" latinLnBrk="0" hangingPunct="1">
                        <a:defRPr sz="1800" kern="1200">
                          <a:solidFill>
                            <a:schemeClr val="dk1"/>
                          </a:solidFill>
                          <a:latin typeface="Calibri" panose="020F0502020204030204"/>
                        </a:defRPr>
                      </a:lvl2pPr>
                      <a:lvl3pPr marL="914377" algn="l" defTabSz="914377" rtl="0" eaLnBrk="1" latinLnBrk="0" hangingPunct="1">
                        <a:defRPr sz="1800" kern="1200">
                          <a:solidFill>
                            <a:schemeClr val="dk1"/>
                          </a:solidFill>
                          <a:latin typeface="Calibri" panose="020F0502020204030204"/>
                        </a:defRPr>
                      </a:lvl3pPr>
                      <a:lvl4pPr marL="1371566" algn="l" defTabSz="914377" rtl="0" eaLnBrk="1" latinLnBrk="0" hangingPunct="1">
                        <a:defRPr sz="1800" kern="1200">
                          <a:solidFill>
                            <a:schemeClr val="dk1"/>
                          </a:solidFill>
                          <a:latin typeface="Calibri" panose="020F0502020204030204"/>
                        </a:defRPr>
                      </a:lvl4pPr>
                      <a:lvl5pPr marL="1828754" algn="l" defTabSz="914377" rtl="0" eaLnBrk="1" latinLnBrk="0" hangingPunct="1">
                        <a:defRPr sz="1800" kern="1200">
                          <a:solidFill>
                            <a:schemeClr val="dk1"/>
                          </a:solidFill>
                          <a:latin typeface="Calibri" panose="020F0502020204030204"/>
                        </a:defRPr>
                      </a:lvl5pPr>
                      <a:lvl6pPr marL="2285943" algn="l" defTabSz="914377" rtl="0" eaLnBrk="1" latinLnBrk="0" hangingPunct="1">
                        <a:defRPr sz="1800" kern="1200">
                          <a:solidFill>
                            <a:schemeClr val="dk1"/>
                          </a:solidFill>
                          <a:latin typeface="Calibri" panose="020F0502020204030204"/>
                        </a:defRPr>
                      </a:lvl6pPr>
                      <a:lvl7pPr marL="2743131" algn="l" defTabSz="914377" rtl="0" eaLnBrk="1" latinLnBrk="0" hangingPunct="1">
                        <a:defRPr sz="1800" kern="1200">
                          <a:solidFill>
                            <a:schemeClr val="dk1"/>
                          </a:solidFill>
                          <a:latin typeface="Calibri" panose="020F0502020204030204"/>
                        </a:defRPr>
                      </a:lvl7pPr>
                      <a:lvl8pPr marL="3200320" algn="l" defTabSz="914377" rtl="0" eaLnBrk="1" latinLnBrk="0" hangingPunct="1">
                        <a:defRPr sz="1800" kern="1200">
                          <a:solidFill>
                            <a:schemeClr val="dk1"/>
                          </a:solidFill>
                          <a:latin typeface="Calibri" panose="020F0502020204030204"/>
                        </a:defRPr>
                      </a:lvl8pPr>
                      <a:lvl9pPr marL="3657509" algn="l" defTabSz="914377" rtl="0" eaLnBrk="1" latinLnBrk="0" hangingPunct="1">
                        <a:defRPr sz="1800" kern="1200">
                          <a:solidFill>
                            <a:schemeClr val="dk1"/>
                          </a:solidFill>
                          <a:latin typeface="Calibri" panose="020F0502020204030204"/>
                        </a:defRPr>
                      </a:lvl9pPr>
                    </a:lstStyle>
                    <a:p>
                      <a:pPr algn="ctr">
                        <a:spcBef>
                          <a:spcPts val="600"/>
                        </a:spcBef>
                        <a:spcAft>
                          <a:spcPts val="600"/>
                        </a:spcAft>
                      </a:pPr>
                      <a:r>
                        <a:rPr lang="fr-FR" sz="1800" kern="1200" err="1">
                          <a:solidFill>
                            <a:schemeClr val="tx1"/>
                          </a:solidFill>
                          <a:latin typeface="+mn-lt"/>
                          <a:ea typeface="+mn-ea"/>
                          <a:cs typeface="+mn-cs"/>
                        </a:rPr>
                        <a:t>Waiting</a:t>
                      </a:r>
                      <a:r>
                        <a:rPr lang="fr-FR" sz="1800" kern="1200">
                          <a:solidFill>
                            <a:schemeClr val="tx1"/>
                          </a:solidFill>
                          <a:latin typeface="+mn-lt"/>
                          <a:ea typeface="+mn-ea"/>
                          <a:cs typeface="+mn-cs"/>
                        </a:rPr>
                        <a:t> for </a:t>
                      </a:r>
                      <a:r>
                        <a:rPr lang="fr-FR" sz="1800" kern="1200" err="1">
                          <a:solidFill>
                            <a:schemeClr val="tx1"/>
                          </a:solidFill>
                          <a:latin typeface="+mn-lt"/>
                          <a:ea typeface="+mn-ea"/>
                          <a:cs typeface="+mn-cs"/>
                        </a:rPr>
                        <a:t>Subject</a:t>
                      </a:r>
                      <a:r>
                        <a:rPr lang="fr-FR" sz="1800" kern="1200">
                          <a:solidFill>
                            <a:schemeClr val="tx1"/>
                          </a:solidFill>
                          <a:latin typeface="+mn-lt"/>
                          <a:ea typeface="+mn-ea"/>
                          <a:cs typeface="+mn-cs"/>
                        </a:rPr>
                        <a:t> end of </a:t>
                      </a:r>
                      <a:r>
                        <a:rPr lang="fr-FR" sz="1800" kern="1200" err="1">
                          <a:solidFill>
                            <a:schemeClr val="tx1"/>
                          </a:solidFill>
                          <a:latin typeface="+mn-lt"/>
                          <a:ea typeface="+mn-ea"/>
                          <a:cs typeface="+mn-cs"/>
                        </a:rPr>
                        <a:t>study</a:t>
                      </a:r>
                      <a:endParaRPr lang="fr-FR" sz="1800"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2790533"/>
                  </a:ext>
                </a:extLst>
              </a:tr>
            </a:tbl>
          </a:graphicData>
        </a:graphic>
      </p:graphicFrame>
      <p:sp>
        <p:nvSpPr>
          <p:cNvPr id="7" name="文本框 6">
            <a:extLst>
              <a:ext uri="{FF2B5EF4-FFF2-40B4-BE49-F238E27FC236}">
                <a16:creationId xmlns:a16="http://schemas.microsoft.com/office/drawing/2014/main" id="{68D6C3E4-1B72-6D40-E5D0-1C8FB4E0F67A}"/>
              </a:ext>
            </a:extLst>
          </p:cNvPr>
          <p:cNvSpPr txBox="1"/>
          <p:nvPr/>
        </p:nvSpPr>
        <p:spPr>
          <a:xfrm>
            <a:off x="795196" y="5615470"/>
            <a:ext cx="10340566" cy="307777"/>
          </a:xfrm>
          <a:prstGeom prst="rect">
            <a:avLst/>
          </a:prstGeom>
          <a:noFill/>
        </p:spPr>
        <p:txBody>
          <a:bodyPr wrap="square" rtlCol="0">
            <a:spAutoFit/>
          </a:bodyPr>
          <a:lstStyle/>
          <a:p>
            <a:r>
              <a:rPr lang="en-US" altLang="zh-CN" sz="1400"/>
              <a:t>* If there is an ongoing study issue when DBL, it is considered a data issue.</a:t>
            </a:r>
            <a:endParaRPr lang="zh-CN" altLang="en-US" sz="1400"/>
          </a:p>
        </p:txBody>
      </p:sp>
      <p:sp>
        <p:nvSpPr>
          <p:cNvPr id="6" name="日期占位符 5">
            <a:extLst>
              <a:ext uri="{FF2B5EF4-FFF2-40B4-BE49-F238E27FC236}">
                <a16:creationId xmlns:a16="http://schemas.microsoft.com/office/drawing/2014/main" id="{B1FC891E-EC22-1207-3435-0A36FB85F5B3}"/>
              </a:ext>
            </a:extLst>
          </p:cNvPr>
          <p:cNvSpPr>
            <a:spLocks noGrp="1"/>
          </p:cNvSpPr>
          <p:nvPr>
            <p:ph type="dt" sz="half" idx="11"/>
          </p:nvPr>
        </p:nvSpPr>
        <p:spPr/>
        <p:txBody>
          <a:bodyPr/>
          <a:lstStyle/>
          <a:p>
            <a:r>
              <a:rPr lang="en-US" altLang="zh-CN" noProof="0"/>
              <a:t>28 . Mar . 2025</a:t>
            </a:r>
            <a:endParaRPr lang="en-US" noProof="0" dirty="0"/>
          </a:p>
        </p:txBody>
      </p:sp>
      <p:sp>
        <p:nvSpPr>
          <p:cNvPr id="10" name="灯片编号占位符 9">
            <a:extLst>
              <a:ext uri="{FF2B5EF4-FFF2-40B4-BE49-F238E27FC236}">
                <a16:creationId xmlns:a16="http://schemas.microsoft.com/office/drawing/2014/main" id="{13D5F9BE-2B4C-F6B0-CFDA-8B24B85CE314}"/>
              </a:ext>
            </a:extLst>
          </p:cNvPr>
          <p:cNvSpPr>
            <a:spLocks noGrp="1"/>
          </p:cNvSpPr>
          <p:nvPr>
            <p:ph type="sldNum" sz="quarter" idx="12"/>
          </p:nvPr>
        </p:nvSpPr>
        <p:spPr/>
        <p:txBody>
          <a:bodyPr/>
          <a:lstStyle/>
          <a:p>
            <a:fld id="{6B54B0F7-55DD-40D6-B7F4-70B586885C0B}" type="slidenum">
              <a:rPr lang="en-US" smtClean="0"/>
              <a:pPr/>
              <a:t>18</a:t>
            </a:fld>
            <a:r>
              <a:rPr lang="en-US"/>
              <a:t>/37</a:t>
            </a:r>
            <a:endParaRPr lang="en-US" noProof="0" dirty="0"/>
          </a:p>
        </p:txBody>
      </p:sp>
    </p:spTree>
    <p:custDataLst>
      <p:tags r:id="rId1"/>
    </p:custDataLst>
    <p:extLst>
      <p:ext uri="{BB962C8B-B14F-4D97-AF65-F5344CB8AC3E}">
        <p14:creationId xmlns:p14="http://schemas.microsoft.com/office/powerpoint/2010/main" val="73002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43660" y="873933"/>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2. Retain comments across different versions</a:t>
            </a:r>
            <a:endParaRPr lang="zh-CN" altLang="en-US" sz="2000" b="1"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C13B3A16-6DF8-6A6C-4448-E5F0BF94C0F6}"/>
              </a:ext>
            </a:extLst>
          </p:cNvPr>
          <p:cNvSpPr txBox="1"/>
          <p:nvPr/>
        </p:nvSpPr>
        <p:spPr>
          <a:xfrm>
            <a:off x="609128" y="1420492"/>
            <a:ext cx="11140839" cy="369332"/>
          </a:xfrm>
          <a:prstGeom prst="rect">
            <a:avLst/>
          </a:prstGeom>
          <a:noFill/>
        </p:spPr>
        <p:txBody>
          <a:bodyPr wrap="square" rtlCol="0">
            <a:spAutoFit/>
          </a:bodyPr>
          <a:lstStyle/>
          <a:p>
            <a:r>
              <a:rPr lang="en-US" altLang="zh-CN" b="1">
                <a:solidFill>
                  <a:srgbClr val="C00000"/>
                </a:solidFill>
              </a:rPr>
              <a:t>Achieve traceability of comments through key information, like domain and P21 ID</a:t>
            </a:r>
            <a:endParaRPr lang="zh-CN" altLang="en-US" b="1">
              <a:solidFill>
                <a:srgbClr val="C00000"/>
              </a:solidFill>
            </a:endParaRPr>
          </a:p>
        </p:txBody>
      </p:sp>
      <p:pic>
        <p:nvPicPr>
          <p:cNvPr id="11" name="图片 10">
            <a:extLst>
              <a:ext uri="{FF2B5EF4-FFF2-40B4-BE49-F238E27FC236}">
                <a16:creationId xmlns:a16="http://schemas.microsoft.com/office/drawing/2014/main" id="{0AE95BD8-351F-93E4-8273-27EED030DF94}"/>
              </a:ext>
            </a:extLst>
          </p:cNvPr>
          <p:cNvPicPr>
            <a:picLocks noChangeAspect="1"/>
          </p:cNvPicPr>
          <p:nvPr/>
        </p:nvPicPr>
        <p:blipFill>
          <a:blip r:embed="rId4"/>
          <a:stretch>
            <a:fillRect/>
          </a:stretch>
        </p:blipFill>
        <p:spPr>
          <a:xfrm>
            <a:off x="525581" y="1998783"/>
            <a:ext cx="11140838" cy="3625278"/>
          </a:xfrm>
          <a:prstGeom prst="rect">
            <a:avLst/>
          </a:prstGeom>
        </p:spPr>
      </p:pic>
      <p:sp>
        <p:nvSpPr>
          <p:cNvPr id="4" name="日期占位符 3">
            <a:extLst>
              <a:ext uri="{FF2B5EF4-FFF2-40B4-BE49-F238E27FC236}">
                <a16:creationId xmlns:a16="http://schemas.microsoft.com/office/drawing/2014/main" id="{12E800D5-5F48-DAD9-28E2-E732C89E822D}"/>
              </a:ext>
            </a:extLst>
          </p:cNvPr>
          <p:cNvSpPr>
            <a:spLocks noGrp="1"/>
          </p:cNvSpPr>
          <p:nvPr>
            <p:ph type="dt" sz="half" idx="11"/>
          </p:nvPr>
        </p:nvSpPr>
        <p:spPr/>
        <p:txBody>
          <a:bodyPr/>
          <a:lstStyle/>
          <a:p>
            <a:r>
              <a:rPr lang="en-US" altLang="zh-CN" noProof="0"/>
              <a:t>28 . Mar . 2025</a:t>
            </a:r>
            <a:endParaRPr lang="en-US" noProof="0" dirty="0"/>
          </a:p>
        </p:txBody>
      </p:sp>
      <p:sp>
        <p:nvSpPr>
          <p:cNvPr id="6" name="灯片编号占位符 5">
            <a:extLst>
              <a:ext uri="{FF2B5EF4-FFF2-40B4-BE49-F238E27FC236}">
                <a16:creationId xmlns:a16="http://schemas.microsoft.com/office/drawing/2014/main" id="{69A19EA8-E2D6-9E59-930D-4F8900F86917}"/>
              </a:ext>
            </a:extLst>
          </p:cNvPr>
          <p:cNvSpPr>
            <a:spLocks noGrp="1"/>
          </p:cNvSpPr>
          <p:nvPr>
            <p:ph type="sldNum" sz="quarter" idx="12"/>
          </p:nvPr>
        </p:nvSpPr>
        <p:spPr/>
        <p:txBody>
          <a:bodyPr/>
          <a:lstStyle/>
          <a:p>
            <a:fld id="{6B54B0F7-55DD-40D6-B7F4-70B586885C0B}" type="slidenum">
              <a:rPr lang="en-US" smtClean="0"/>
              <a:pPr/>
              <a:t>19</a:t>
            </a:fld>
            <a:r>
              <a:rPr lang="en-US"/>
              <a:t>/37</a:t>
            </a:r>
            <a:endParaRPr lang="en-US" noProof="0" dirty="0"/>
          </a:p>
        </p:txBody>
      </p:sp>
    </p:spTree>
    <p:custDataLst>
      <p:tags r:id="rId1"/>
    </p:custDataLst>
    <p:extLst>
      <p:ext uri="{BB962C8B-B14F-4D97-AF65-F5344CB8AC3E}">
        <p14:creationId xmlns:p14="http://schemas.microsoft.com/office/powerpoint/2010/main" val="7391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graphique SmartArt 1">
            <a:extLst>
              <a:ext uri="{FF2B5EF4-FFF2-40B4-BE49-F238E27FC236}">
                <a16:creationId xmlns:a16="http://schemas.microsoft.com/office/drawing/2014/main" id="{1F294D1C-16D2-4943-9E30-F68F81991935}"/>
              </a:ext>
            </a:extLst>
          </p:cNvPr>
          <p:cNvSpPr>
            <a:spLocks noGrp="1"/>
          </p:cNvSpPr>
          <p:nvPr>
            <p:ph type="dgm" sz="quarter" idx="13"/>
          </p:nvPr>
        </p:nvSpPr>
        <p:spPr/>
        <p:txBody>
          <a:bodyPr/>
          <a:lstStyle/>
          <a:p>
            <a:endParaRPr lang="zh-CN" altLang="en-US"/>
          </a:p>
        </p:txBody>
      </p:sp>
      <p:sp>
        <p:nvSpPr>
          <p:cNvPr id="4" name="Espace réservé du graphique SmartArt 3">
            <a:extLst>
              <a:ext uri="{FF2B5EF4-FFF2-40B4-BE49-F238E27FC236}">
                <a16:creationId xmlns:a16="http://schemas.microsoft.com/office/drawing/2014/main" id="{5F71479A-18DB-416B-A05B-38DC804C2BB7}"/>
              </a:ext>
            </a:extLst>
          </p:cNvPr>
          <p:cNvSpPr>
            <a:spLocks noGrp="1"/>
          </p:cNvSpPr>
          <p:nvPr>
            <p:ph type="dgm" sz="quarter" idx="14"/>
          </p:nvPr>
        </p:nvSpPr>
        <p:spPr/>
        <p:txBody>
          <a:bodyPr/>
          <a:lstStyle/>
          <a:p>
            <a:endParaRPr lang="zh-CN" altLang="en-US"/>
          </a:p>
        </p:txBody>
      </p:sp>
      <p:sp>
        <p:nvSpPr>
          <p:cNvPr id="6" name="Text Placeholder 21">
            <a:extLst>
              <a:ext uri="{FF2B5EF4-FFF2-40B4-BE49-F238E27FC236}">
                <a16:creationId xmlns:a16="http://schemas.microsoft.com/office/drawing/2014/main" id="{680A97A4-6D08-718F-BD23-F810FBBD1392}"/>
              </a:ext>
            </a:extLst>
          </p:cNvPr>
          <p:cNvSpPr>
            <a:spLocks noGrp="1"/>
          </p:cNvSpPr>
          <p:nvPr/>
        </p:nvSpPr>
        <p:spPr>
          <a:xfrm>
            <a:off x="1196058" y="2700204"/>
            <a:ext cx="10220325" cy="1300162"/>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ct val="90000"/>
              </a:lnSpc>
              <a:spcBef>
                <a:spcPts val="300"/>
              </a:spcBef>
              <a:buClr>
                <a:schemeClr val="accent2"/>
              </a:buClr>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226800" algn="l" defTabSz="685800" rtl="0" eaLnBrk="1" latinLnBrk="0" hangingPunct="1">
              <a:lnSpc>
                <a:spcPct val="90000"/>
              </a:lnSpc>
              <a:spcBef>
                <a:spcPts val="300"/>
              </a:spcBef>
              <a:buFontTx/>
              <a:buBlip>
                <a:blip r:embed="rId2"/>
              </a:buBlip>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200" b="0" i="0" u="none" strike="noStrike" kern="1200" cap="none" spc="0" normalizeH="0" baseline="0" noProof="0">
                <a:ln>
                  <a:noFill/>
                </a:ln>
                <a:solidFill>
                  <a:prstClr val="black"/>
                </a:solidFill>
                <a:effectLst/>
                <a:uLnTx/>
                <a:uFillTx/>
                <a:latin typeface="Copperplate Gothic Bold" panose="020E0705020206020404" pitchFamily="34" charset="0"/>
                <a:ea typeface="Verdana" panose="020B0604030504040204" pitchFamily="34" charset="0"/>
              </a:rPr>
              <a:t>The views and opinions expressed in this presentation are those of authors and do not necessarily reflect the official views and policies of Sanofi or position of China Pharma RUG 2025</a:t>
            </a:r>
            <a:r>
              <a:rPr kumimoji="0" lang="en-US" sz="2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a:t>
            </a:r>
          </a:p>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endParaRPr kumimoji="0" lang="en-US" sz="2133"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 name="日期占位符 2">
            <a:extLst>
              <a:ext uri="{FF2B5EF4-FFF2-40B4-BE49-F238E27FC236}">
                <a16:creationId xmlns:a16="http://schemas.microsoft.com/office/drawing/2014/main" id="{7A69388C-4519-8D1F-301B-A3DF76BDAA74}"/>
              </a:ext>
            </a:extLst>
          </p:cNvPr>
          <p:cNvSpPr>
            <a:spLocks noGrp="1"/>
          </p:cNvSpPr>
          <p:nvPr>
            <p:ph type="dt" sz="half" idx="15"/>
          </p:nvPr>
        </p:nvSpPr>
        <p:spPr/>
        <p:txBody>
          <a:bodyPr/>
          <a:lstStyle/>
          <a:p>
            <a:r>
              <a:rPr lang="en-US" altLang="zh-CN" noProof="0"/>
              <a:t>28 . Mar . 2025</a:t>
            </a:r>
            <a:endParaRPr lang="en-US" noProof="0"/>
          </a:p>
        </p:txBody>
      </p:sp>
    </p:spTree>
    <p:extLst>
      <p:ext uri="{BB962C8B-B14F-4D97-AF65-F5344CB8AC3E}">
        <p14:creationId xmlns:p14="http://schemas.microsoft.com/office/powerpoint/2010/main" val="381875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43660" y="873933"/>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3. Split domain-related issues process</a:t>
            </a:r>
            <a:endParaRPr lang="zh-CN" altLang="en-US" sz="2000" b="1" dirty="0">
              <a:latin typeface="微软雅黑" panose="020B0503020204020204" pitchFamily="34" charset="-122"/>
              <a:ea typeface="微软雅黑" panose="020B0503020204020204" pitchFamily="34" charset="-122"/>
            </a:endParaRPr>
          </a:p>
        </p:txBody>
      </p:sp>
      <p:pic>
        <p:nvPicPr>
          <p:cNvPr id="2" name="图片 1">
            <a:extLst>
              <a:ext uri="{FF2B5EF4-FFF2-40B4-BE49-F238E27FC236}">
                <a16:creationId xmlns:a16="http://schemas.microsoft.com/office/drawing/2014/main" id="{8047277F-BB9B-F862-50E0-3EAA823D9B8B}"/>
              </a:ext>
            </a:extLst>
          </p:cNvPr>
          <p:cNvPicPr>
            <a:picLocks noChangeAspect="1"/>
          </p:cNvPicPr>
          <p:nvPr/>
        </p:nvPicPr>
        <p:blipFill>
          <a:blip r:embed="rId4"/>
          <a:stretch>
            <a:fillRect/>
          </a:stretch>
        </p:blipFill>
        <p:spPr>
          <a:xfrm>
            <a:off x="343660" y="2006661"/>
            <a:ext cx="11504679" cy="4364137"/>
          </a:xfrm>
          <a:prstGeom prst="rect">
            <a:avLst/>
          </a:prstGeom>
        </p:spPr>
      </p:pic>
      <p:sp>
        <p:nvSpPr>
          <p:cNvPr id="7" name="文本框 6">
            <a:extLst>
              <a:ext uri="{FF2B5EF4-FFF2-40B4-BE49-F238E27FC236}">
                <a16:creationId xmlns:a16="http://schemas.microsoft.com/office/drawing/2014/main" id="{C13B3A16-6DF8-6A6C-4448-E5F0BF94C0F6}"/>
              </a:ext>
            </a:extLst>
          </p:cNvPr>
          <p:cNvSpPr txBox="1"/>
          <p:nvPr/>
        </p:nvSpPr>
        <p:spPr>
          <a:xfrm>
            <a:off x="442874" y="1497730"/>
            <a:ext cx="11082376" cy="369332"/>
          </a:xfrm>
          <a:prstGeom prst="rect">
            <a:avLst/>
          </a:prstGeom>
          <a:noFill/>
        </p:spPr>
        <p:txBody>
          <a:bodyPr wrap="square" rtlCol="0">
            <a:spAutoFit/>
          </a:bodyPr>
          <a:lstStyle/>
          <a:p>
            <a:r>
              <a:rPr lang="en-US" altLang="zh-CN" b="1" dirty="0">
                <a:solidFill>
                  <a:srgbClr val="C00000"/>
                </a:solidFill>
              </a:rPr>
              <a:t>Locate specific datasets based on record and details information</a:t>
            </a:r>
            <a:endParaRPr lang="zh-CN" altLang="en-US" b="1" dirty="0">
              <a:solidFill>
                <a:srgbClr val="C00000"/>
              </a:solidFill>
            </a:endParaRPr>
          </a:p>
        </p:txBody>
      </p:sp>
      <p:sp>
        <p:nvSpPr>
          <p:cNvPr id="5" name="日期占位符 4">
            <a:extLst>
              <a:ext uri="{FF2B5EF4-FFF2-40B4-BE49-F238E27FC236}">
                <a16:creationId xmlns:a16="http://schemas.microsoft.com/office/drawing/2014/main" id="{40A991E6-6709-9B2D-03FD-CB939DE53862}"/>
              </a:ext>
            </a:extLst>
          </p:cNvPr>
          <p:cNvSpPr>
            <a:spLocks noGrp="1"/>
          </p:cNvSpPr>
          <p:nvPr>
            <p:ph type="dt" sz="half" idx="11"/>
          </p:nvPr>
        </p:nvSpPr>
        <p:spPr>
          <a:xfrm>
            <a:off x="4724399" y="6335468"/>
            <a:ext cx="2743200" cy="366183"/>
          </a:xfrm>
        </p:spPr>
        <p:txBody>
          <a:bodyPr/>
          <a:lstStyle/>
          <a:p>
            <a:r>
              <a:rPr lang="en-US" altLang="zh-CN" noProof="0" dirty="0"/>
              <a:t>28 . Mar . 2025</a:t>
            </a:r>
            <a:endParaRPr lang="en-US" noProof="0" dirty="0"/>
          </a:p>
        </p:txBody>
      </p:sp>
      <p:sp>
        <p:nvSpPr>
          <p:cNvPr id="8" name="灯片编号占位符 7">
            <a:extLst>
              <a:ext uri="{FF2B5EF4-FFF2-40B4-BE49-F238E27FC236}">
                <a16:creationId xmlns:a16="http://schemas.microsoft.com/office/drawing/2014/main" id="{6386DBD0-1774-D57F-B5C2-14B1256C2F89}"/>
              </a:ext>
            </a:extLst>
          </p:cNvPr>
          <p:cNvSpPr>
            <a:spLocks noGrp="1"/>
          </p:cNvSpPr>
          <p:nvPr>
            <p:ph type="sldNum" sz="quarter" idx="12"/>
          </p:nvPr>
        </p:nvSpPr>
        <p:spPr/>
        <p:txBody>
          <a:bodyPr/>
          <a:lstStyle/>
          <a:p>
            <a:fld id="{6B54B0F7-55DD-40D6-B7F4-70B586885C0B}" type="slidenum">
              <a:rPr lang="en-US" smtClean="0"/>
              <a:pPr/>
              <a:t>20</a:t>
            </a:fld>
            <a:r>
              <a:rPr lang="en-US"/>
              <a:t>/37</a:t>
            </a:r>
            <a:endParaRPr lang="en-US" noProof="0" dirty="0"/>
          </a:p>
        </p:txBody>
      </p:sp>
    </p:spTree>
    <p:custDataLst>
      <p:tags r:id="rId1"/>
    </p:custDataLst>
    <p:extLst>
      <p:ext uri="{BB962C8B-B14F-4D97-AF65-F5344CB8AC3E}">
        <p14:creationId xmlns:p14="http://schemas.microsoft.com/office/powerpoint/2010/main" val="50597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en-US" altLang="zh-CN" sz="3200" b="1">
                <a:latin typeface="微软雅黑" panose="020B0503020204020204" pitchFamily="34" charset="-122"/>
                <a:ea typeface="微软雅黑" panose="020B0503020204020204" pitchFamily="34" charset="-122"/>
              </a:rPr>
              <a:t>Key technical points</a:t>
            </a:r>
            <a:endParaRPr lang="zh-CN" altLang="en-US" sz="3200" b="1">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CCF2D44-65B0-3408-971E-7B168624C50C}"/>
              </a:ext>
            </a:extLst>
          </p:cNvPr>
          <p:cNvSpPr txBox="1"/>
          <p:nvPr/>
        </p:nvSpPr>
        <p:spPr>
          <a:xfrm>
            <a:off x="343660" y="873933"/>
            <a:ext cx="10945368" cy="400110"/>
          </a:xfrm>
          <a:prstGeom prst="rect">
            <a:avLst/>
          </a:prstGeom>
          <a:noFill/>
        </p:spPr>
        <p:txBody>
          <a:bodyPr wrap="square" rtlCol="0">
            <a:spAutoFit/>
          </a:bodyPr>
          <a:lstStyle/>
          <a:p>
            <a:r>
              <a:rPr lang="en-US" altLang="zh-CN" sz="2000" b="1" dirty="0">
                <a:latin typeface="微软雅黑" panose="020B0503020204020204" pitchFamily="34" charset="-122"/>
                <a:ea typeface="微软雅黑" panose="020B0503020204020204" pitchFamily="34" charset="-122"/>
              </a:rPr>
              <a:t>3. Split domain-related issues process</a:t>
            </a:r>
            <a:endParaRPr lang="zh-CN" altLang="en-US" sz="2000" b="1" dirty="0">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C13B3A16-6DF8-6A6C-4448-E5F0BF94C0F6}"/>
              </a:ext>
            </a:extLst>
          </p:cNvPr>
          <p:cNvSpPr txBox="1"/>
          <p:nvPr/>
        </p:nvSpPr>
        <p:spPr>
          <a:xfrm>
            <a:off x="343660" y="1341468"/>
            <a:ext cx="6301212" cy="646331"/>
          </a:xfrm>
          <a:prstGeom prst="rect">
            <a:avLst/>
          </a:prstGeom>
          <a:noFill/>
        </p:spPr>
        <p:txBody>
          <a:bodyPr wrap="square" rtlCol="0">
            <a:spAutoFit/>
          </a:bodyPr>
          <a:lstStyle/>
          <a:p>
            <a:r>
              <a:rPr lang="en-US" altLang="zh-CN" b="1">
                <a:solidFill>
                  <a:srgbClr val="C00000"/>
                </a:solidFill>
              </a:rPr>
              <a:t>Locate specific datasets based on record and details information</a:t>
            </a:r>
            <a:endParaRPr lang="zh-CN" altLang="en-US" b="1">
              <a:solidFill>
                <a:srgbClr val="C00000"/>
              </a:solidFill>
            </a:endParaRPr>
          </a:p>
        </p:txBody>
      </p:sp>
      <p:pic>
        <p:nvPicPr>
          <p:cNvPr id="4" name="图片 3">
            <a:extLst>
              <a:ext uri="{FF2B5EF4-FFF2-40B4-BE49-F238E27FC236}">
                <a16:creationId xmlns:a16="http://schemas.microsoft.com/office/drawing/2014/main" id="{EC265A43-8D9C-C459-B002-D489F36B8D2E}"/>
              </a:ext>
            </a:extLst>
          </p:cNvPr>
          <p:cNvPicPr>
            <a:picLocks noChangeAspect="1"/>
          </p:cNvPicPr>
          <p:nvPr/>
        </p:nvPicPr>
        <p:blipFill>
          <a:blip r:embed="rId4"/>
          <a:stretch>
            <a:fillRect/>
          </a:stretch>
        </p:blipFill>
        <p:spPr>
          <a:xfrm>
            <a:off x="6545116" y="730080"/>
            <a:ext cx="5303224" cy="1335077"/>
          </a:xfrm>
          <a:prstGeom prst="rect">
            <a:avLst/>
          </a:prstGeom>
        </p:spPr>
      </p:pic>
      <p:pic>
        <p:nvPicPr>
          <p:cNvPr id="5" name="图片 4">
            <a:extLst>
              <a:ext uri="{FF2B5EF4-FFF2-40B4-BE49-F238E27FC236}">
                <a16:creationId xmlns:a16="http://schemas.microsoft.com/office/drawing/2014/main" id="{5FE35940-8525-67E9-D59F-9B37352AC63B}"/>
              </a:ext>
            </a:extLst>
          </p:cNvPr>
          <p:cNvPicPr>
            <a:picLocks noChangeAspect="1"/>
          </p:cNvPicPr>
          <p:nvPr/>
        </p:nvPicPr>
        <p:blipFill>
          <a:blip r:embed="rId5"/>
          <a:stretch>
            <a:fillRect/>
          </a:stretch>
        </p:blipFill>
        <p:spPr>
          <a:xfrm>
            <a:off x="1530916" y="2163360"/>
            <a:ext cx="9502704" cy="3174223"/>
          </a:xfrm>
          <a:prstGeom prst="rect">
            <a:avLst/>
          </a:prstGeom>
        </p:spPr>
      </p:pic>
      <p:sp>
        <p:nvSpPr>
          <p:cNvPr id="6" name="文本框 5">
            <a:extLst>
              <a:ext uri="{FF2B5EF4-FFF2-40B4-BE49-F238E27FC236}">
                <a16:creationId xmlns:a16="http://schemas.microsoft.com/office/drawing/2014/main" id="{077A4D23-B4A8-12B9-9360-80CE89F8AB4A}"/>
              </a:ext>
            </a:extLst>
          </p:cNvPr>
          <p:cNvSpPr txBox="1"/>
          <p:nvPr/>
        </p:nvSpPr>
        <p:spPr>
          <a:xfrm>
            <a:off x="1530916" y="5435786"/>
            <a:ext cx="10593560" cy="1341457"/>
          </a:xfrm>
          <a:prstGeom prst="rect">
            <a:avLst/>
          </a:prstGeom>
          <a:noFill/>
        </p:spPr>
        <p:txBody>
          <a:bodyPr wrap="square" rtlCol="0">
            <a:spAutoFit/>
          </a:bodyPr>
          <a:lstStyle/>
          <a:p>
            <a:pPr marL="342900" indent="-342900">
              <a:lnSpc>
                <a:spcPct val="150000"/>
              </a:lnSpc>
              <a:buAutoNum type="arabicPeriod"/>
            </a:pPr>
            <a:r>
              <a:rPr lang="en-US" altLang="zh-CN" sz="1400" b="0" i="0">
                <a:solidFill>
                  <a:srgbClr val="C00000"/>
                </a:solidFill>
                <a:effectLst/>
                <a:ea typeface="+mj-ea"/>
              </a:rPr>
              <a:t>Red variables </a:t>
            </a:r>
            <a:r>
              <a:rPr lang="en-US" altLang="zh-CN" sz="1400" b="0" i="0">
                <a:effectLst/>
                <a:ea typeface="+mj-ea"/>
              </a:rPr>
              <a:t>indicate the variables that exist in the original details sheet; </a:t>
            </a:r>
            <a:r>
              <a:rPr lang="en-US" altLang="zh-CN" sz="1400" b="0" i="0">
                <a:solidFill>
                  <a:srgbClr val="C00000"/>
                </a:solidFill>
                <a:effectLst/>
                <a:ea typeface="+mj-ea"/>
              </a:rPr>
              <a:t>blue variables </a:t>
            </a:r>
            <a:r>
              <a:rPr lang="en-US" altLang="zh-CN" sz="1400" b="0" i="0">
                <a:effectLst/>
                <a:ea typeface="+mj-ea"/>
              </a:rPr>
              <a:t>represent temporary variables generated when running the macro, and </a:t>
            </a:r>
            <a:r>
              <a:rPr lang="en-US" altLang="zh-CN" sz="1400" b="0" i="0">
                <a:solidFill>
                  <a:srgbClr val="C00000"/>
                </a:solidFill>
                <a:effectLst/>
                <a:ea typeface="+mj-ea"/>
              </a:rPr>
              <a:t>orange variables </a:t>
            </a:r>
            <a:r>
              <a:rPr lang="en-US" altLang="zh-CN" sz="1400" b="0" i="0">
                <a:effectLst/>
                <a:ea typeface="+mj-ea"/>
              </a:rPr>
              <a:t>indicate the final output variables.</a:t>
            </a:r>
          </a:p>
          <a:p>
            <a:pPr marL="342900" indent="-342900">
              <a:lnSpc>
                <a:spcPct val="150000"/>
              </a:lnSpc>
              <a:buAutoNum type="arabicPeriod"/>
            </a:pPr>
            <a:r>
              <a:rPr lang="en-US" altLang="zh-CN" sz="1400" b="0" i="0">
                <a:solidFill>
                  <a:srgbClr val="C00000"/>
                </a:solidFill>
                <a:effectLst/>
                <a:ea typeface="+mj-ea"/>
              </a:rPr>
              <a:t>Rows with a yellow background </a:t>
            </a:r>
            <a:r>
              <a:rPr lang="en-US" altLang="zh-CN" sz="1400" b="0" i="0">
                <a:effectLst/>
                <a:ea typeface="+mj-ea"/>
              </a:rPr>
              <a:t>indicate that one row in the details may correspond to multiple split datasets.</a:t>
            </a:r>
          </a:p>
          <a:p>
            <a:pPr marL="342900" indent="-342900">
              <a:lnSpc>
                <a:spcPct val="150000"/>
              </a:lnSpc>
              <a:buAutoNum type="arabicPeriod"/>
            </a:pPr>
            <a:r>
              <a:rPr lang="en-US" altLang="zh-CN" sz="1400">
                <a:solidFill>
                  <a:srgbClr val="C00000"/>
                </a:solidFill>
                <a:ea typeface="+mj-ea"/>
              </a:rPr>
              <a:t>SD1116</a:t>
            </a:r>
            <a:r>
              <a:rPr lang="en-US" altLang="zh-CN" sz="1400">
                <a:ea typeface="+mj-ea"/>
              </a:rPr>
              <a:t>: Inconsistent variable length within split datasets</a:t>
            </a:r>
            <a:endParaRPr lang="zh-CN" altLang="en-US" sz="1400">
              <a:ea typeface="+mj-ea"/>
            </a:endParaRPr>
          </a:p>
        </p:txBody>
      </p:sp>
      <p:sp>
        <p:nvSpPr>
          <p:cNvPr id="11" name="灯片编号占位符 10">
            <a:extLst>
              <a:ext uri="{FF2B5EF4-FFF2-40B4-BE49-F238E27FC236}">
                <a16:creationId xmlns:a16="http://schemas.microsoft.com/office/drawing/2014/main" id="{FBD85F85-CCD8-9E1E-0BFA-E82A111B22A2}"/>
              </a:ext>
            </a:extLst>
          </p:cNvPr>
          <p:cNvSpPr>
            <a:spLocks noGrp="1"/>
          </p:cNvSpPr>
          <p:nvPr>
            <p:ph type="sldNum" sz="quarter" idx="12"/>
          </p:nvPr>
        </p:nvSpPr>
        <p:spPr/>
        <p:txBody>
          <a:bodyPr/>
          <a:lstStyle/>
          <a:p>
            <a:fld id="{6B54B0F7-55DD-40D6-B7F4-70B586885C0B}" type="slidenum">
              <a:rPr lang="en-US" smtClean="0"/>
              <a:pPr/>
              <a:t>21</a:t>
            </a:fld>
            <a:r>
              <a:rPr lang="en-US"/>
              <a:t>/37</a:t>
            </a:r>
            <a:endParaRPr lang="en-US" noProof="0" dirty="0"/>
          </a:p>
        </p:txBody>
      </p:sp>
    </p:spTree>
    <p:custDataLst>
      <p:tags r:id="rId1"/>
    </p:custDataLst>
    <p:extLst>
      <p:ext uri="{BB962C8B-B14F-4D97-AF65-F5344CB8AC3E}">
        <p14:creationId xmlns:p14="http://schemas.microsoft.com/office/powerpoint/2010/main" val="16733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graphique SmartArt 1">
            <a:extLst>
              <a:ext uri="{FF2B5EF4-FFF2-40B4-BE49-F238E27FC236}">
                <a16:creationId xmlns:a16="http://schemas.microsoft.com/office/drawing/2014/main" id="{1F294D1C-16D2-4943-9E30-F68F81991935}"/>
              </a:ext>
            </a:extLst>
          </p:cNvPr>
          <p:cNvSpPr>
            <a:spLocks noGrp="1"/>
          </p:cNvSpPr>
          <p:nvPr>
            <p:ph type="dgm" sz="quarter" idx="13"/>
          </p:nvPr>
        </p:nvSpPr>
        <p:spPr/>
        <p:txBody>
          <a:bodyPr/>
          <a:lstStyle/>
          <a:p>
            <a:endParaRPr lang="zh-CN" altLang="en-US"/>
          </a:p>
        </p:txBody>
      </p:sp>
      <p:sp>
        <p:nvSpPr>
          <p:cNvPr id="4" name="Espace réservé du graphique SmartArt 3">
            <a:extLst>
              <a:ext uri="{FF2B5EF4-FFF2-40B4-BE49-F238E27FC236}">
                <a16:creationId xmlns:a16="http://schemas.microsoft.com/office/drawing/2014/main" id="{5F71479A-18DB-416B-A05B-38DC804C2BB7}"/>
              </a:ext>
            </a:extLst>
          </p:cNvPr>
          <p:cNvSpPr>
            <a:spLocks noGrp="1"/>
          </p:cNvSpPr>
          <p:nvPr>
            <p:ph type="dgm" sz="quarter" idx="14"/>
          </p:nvPr>
        </p:nvSpPr>
        <p:spPr/>
        <p:txBody>
          <a:bodyPr/>
          <a:lstStyle/>
          <a:p>
            <a:endParaRPr lang="zh-CN" altLang="en-US"/>
          </a:p>
        </p:txBody>
      </p:sp>
      <p:sp>
        <p:nvSpPr>
          <p:cNvPr id="10" name="Espace réservé du texte 9">
            <a:extLst>
              <a:ext uri="{FF2B5EF4-FFF2-40B4-BE49-F238E27FC236}">
                <a16:creationId xmlns:a16="http://schemas.microsoft.com/office/drawing/2014/main" id="{DE4AC86C-2729-44F8-8172-BB4BAA8DDF92}"/>
              </a:ext>
            </a:extLst>
          </p:cNvPr>
          <p:cNvSpPr>
            <a:spLocks noGrp="1"/>
          </p:cNvSpPr>
          <p:nvPr>
            <p:ph type="body" sz="quarter" idx="21"/>
          </p:nvPr>
        </p:nvSpPr>
        <p:spPr>
          <a:xfrm>
            <a:off x="1557648" y="2181224"/>
            <a:ext cx="9230445" cy="1485901"/>
          </a:xfrm>
        </p:spPr>
        <p:txBody>
          <a:bodyPr/>
          <a:lstStyle/>
          <a:p>
            <a:r>
              <a:rPr lang="fr-FR">
                <a:latin typeface="Copperplate Gothic Bold" panose="020E0705020206020404" pitchFamily="34" charset="0"/>
              </a:rPr>
              <a:t>Tool Intro</a:t>
            </a:r>
          </a:p>
        </p:txBody>
      </p:sp>
      <p:sp>
        <p:nvSpPr>
          <p:cNvPr id="3" name="日期占位符 2">
            <a:extLst>
              <a:ext uri="{FF2B5EF4-FFF2-40B4-BE49-F238E27FC236}">
                <a16:creationId xmlns:a16="http://schemas.microsoft.com/office/drawing/2014/main" id="{F49C35EE-BFBE-4681-7310-EB6C85AE12DE}"/>
              </a:ext>
            </a:extLst>
          </p:cNvPr>
          <p:cNvSpPr>
            <a:spLocks noGrp="1"/>
          </p:cNvSpPr>
          <p:nvPr>
            <p:ph type="dt" sz="half" idx="15"/>
          </p:nvPr>
        </p:nvSpPr>
        <p:spPr/>
        <p:txBody>
          <a:bodyPr/>
          <a:lstStyle/>
          <a:p>
            <a:r>
              <a:rPr lang="en-US" altLang="zh-CN" noProof="0"/>
              <a:t>28 . Mar . 2025</a:t>
            </a:r>
            <a:endParaRPr lang="en-US" noProof="0"/>
          </a:p>
        </p:txBody>
      </p:sp>
    </p:spTree>
    <p:extLst>
      <p:ext uri="{BB962C8B-B14F-4D97-AF65-F5344CB8AC3E}">
        <p14:creationId xmlns:p14="http://schemas.microsoft.com/office/powerpoint/2010/main" val="372351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3200" b="1">
                <a:latin typeface="微软雅黑" panose="020B0503020204020204" pitchFamily="34" charset="-122"/>
                <a:ea typeface="微软雅黑" panose="020B0503020204020204" pitchFamily="34" charset="-122"/>
              </a:rPr>
              <a:t>Process</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D73B230C-1EC0-DB92-63AE-5824227C67CC}"/>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Process — SDTM</a:t>
            </a:r>
            <a:endParaRPr lang="zh-CN" altLang="en-US" sz="2400" b="1" dirty="0">
              <a:latin typeface="微软雅黑" panose="020B0503020204020204" pitchFamily="34" charset="-122"/>
              <a:ea typeface="微软雅黑" panose="020B0503020204020204" pitchFamily="34" charset="-122"/>
            </a:endParaRPr>
          </a:p>
        </p:txBody>
      </p:sp>
      <p:pic>
        <p:nvPicPr>
          <p:cNvPr id="7" name="图片 6">
            <a:extLst>
              <a:ext uri="{FF2B5EF4-FFF2-40B4-BE49-F238E27FC236}">
                <a16:creationId xmlns:a16="http://schemas.microsoft.com/office/drawing/2014/main" id="{DCAD3492-3C2A-FE58-436B-FA829A148546}"/>
              </a:ext>
            </a:extLst>
          </p:cNvPr>
          <p:cNvPicPr>
            <a:picLocks noChangeAspect="1"/>
          </p:cNvPicPr>
          <p:nvPr/>
        </p:nvPicPr>
        <p:blipFill>
          <a:blip r:embed="rId4"/>
          <a:stretch>
            <a:fillRect/>
          </a:stretch>
        </p:blipFill>
        <p:spPr>
          <a:xfrm>
            <a:off x="1234632" y="1671507"/>
            <a:ext cx="9722736" cy="4159040"/>
          </a:xfrm>
          <a:prstGeom prst="rect">
            <a:avLst/>
          </a:prstGeom>
        </p:spPr>
      </p:pic>
      <p:sp>
        <p:nvSpPr>
          <p:cNvPr id="4" name="日期占位符 3">
            <a:extLst>
              <a:ext uri="{FF2B5EF4-FFF2-40B4-BE49-F238E27FC236}">
                <a16:creationId xmlns:a16="http://schemas.microsoft.com/office/drawing/2014/main" id="{C9F15DFE-2822-AB7C-AC7B-CAAEA4AC7918}"/>
              </a:ext>
            </a:extLst>
          </p:cNvPr>
          <p:cNvSpPr>
            <a:spLocks noGrp="1"/>
          </p:cNvSpPr>
          <p:nvPr>
            <p:ph type="dt" sz="half" idx="11"/>
          </p:nvPr>
        </p:nvSpPr>
        <p:spPr/>
        <p:txBody>
          <a:bodyPr/>
          <a:lstStyle/>
          <a:p>
            <a:r>
              <a:rPr lang="en-US" altLang="zh-CN" noProof="0"/>
              <a:t>28 . Mar . 2025</a:t>
            </a:r>
            <a:endParaRPr lang="en-US" noProof="0" dirty="0"/>
          </a:p>
        </p:txBody>
      </p:sp>
      <p:sp>
        <p:nvSpPr>
          <p:cNvPr id="6" name="灯片编号占位符 5">
            <a:extLst>
              <a:ext uri="{FF2B5EF4-FFF2-40B4-BE49-F238E27FC236}">
                <a16:creationId xmlns:a16="http://schemas.microsoft.com/office/drawing/2014/main" id="{93AA02E7-1DB7-3807-702A-CDA8D2E80994}"/>
              </a:ext>
            </a:extLst>
          </p:cNvPr>
          <p:cNvSpPr>
            <a:spLocks noGrp="1"/>
          </p:cNvSpPr>
          <p:nvPr>
            <p:ph type="sldNum" sz="quarter" idx="12"/>
          </p:nvPr>
        </p:nvSpPr>
        <p:spPr/>
        <p:txBody>
          <a:bodyPr/>
          <a:lstStyle/>
          <a:p>
            <a:fld id="{6B54B0F7-55DD-40D6-B7F4-70B586885C0B}" type="slidenum">
              <a:rPr lang="en-US" smtClean="0"/>
              <a:pPr/>
              <a:t>23</a:t>
            </a:fld>
            <a:r>
              <a:rPr lang="en-US"/>
              <a:t>/37</a:t>
            </a:r>
            <a:endParaRPr lang="en-US" noProof="0" dirty="0"/>
          </a:p>
        </p:txBody>
      </p:sp>
    </p:spTree>
    <p:custDataLst>
      <p:tags r:id="rId1"/>
    </p:custDataLst>
    <p:extLst>
      <p:ext uri="{BB962C8B-B14F-4D97-AF65-F5344CB8AC3E}">
        <p14:creationId xmlns:p14="http://schemas.microsoft.com/office/powerpoint/2010/main" val="14458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3200" b="1">
                <a:latin typeface="微软雅黑" panose="020B0503020204020204" pitchFamily="34" charset="-122"/>
                <a:ea typeface="微软雅黑" panose="020B0503020204020204" pitchFamily="34" charset="-122"/>
              </a:rPr>
              <a:t>Process</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D73B230C-1EC0-DB92-63AE-5824227C67CC}"/>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Process — </a:t>
            </a:r>
            <a:r>
              <a:rPr lang="en-US" altLang="zh-CN" sz="2400" b="1" dirty="0" err="1">
                <a:latin typeface="微软雅黑" panose="020B0503020204020204" pitchFamily="34" charset="-122"/>
                <a:ea typeface="微软雅黑" panose="020B0503020204020204" pitchFamily="34" charset="-122"/>
              </a:rPr>
              <a:t>ADaM</a:t>
            </a:r>
            <a:endParaRPr lang="zh-CN" altLang="en-US" sz="2400" b="1" dirty="0">
              <a:latin typeface="微软雅黑" panose="020B0503020204020204" pitchFamily="34" charset="-122"/>
              <a:ea typeface="微软雅黑" panose="020B0503020204020204" pitchFamily="34" charset="-122"/>
            </a:endParaRPr>
          </a:p>
        </p:txBody>
      </p:sp>
      <p:pic>
        <p:nvPicPr>
          <p:cNvPr id="8" name="图片 7">
            <a:extLst>
              <a:ext uri="{FF2B5EF4-FFF2-40B4-BE49-F238E27FC236}">
                <a16:creationId xmlns:a16="http://schemas.microsoft.com/office/drawing/2014/main" id="{6FE8ABEC-2E8C-AF98-2BDA-6D563F3C49C5}"/>
              </a:ext>
            </a:extLst>
          </p:cNvPr>
          <p:cNvPicPr>
            <a:picLocks noChangeAspect="1"/>
          </p:cNvPicPr>
          <p:nvPr/>
        </p:nvPicPr>
        <p:blipFill>
          <a:blip r:embed="rId4"/>
          <a:stretch>
            <a:fillRect/>
          </a:stretch>
        </p:blipFill>
        <p:spPr>
          <a:xfrm>
            <a:off x="1228800" y="1504951"/>
            <a:ext cx="9734399" cy="4481290"/>
          </a:xfrm>
          <a:prstGeom prst="rect">
            <a:avLst/>
          </a:prstGeom>
        </p:spPr>
      </p:pic>
      <p:sp>
        <p:nvSpPr>
          <p:cNvPr id="4" name="日期占位符 3">
            <a:extLst>
              <a:ext uri="{FF2B5EF4-FFF2-40B4-BE49-F238E27FC236}">
                <a16:creationId xmlns:a16="http://schemas.microsoft.com/office/drawing/2014/main" id="{7CDA8EC9-B732-683A-976E-ED0CA9DFD227}"/>
              </a:ext>
            </a:extLst>
          </p:cNvPr>
          <p:cNvSpPr>
            <a:spLocks noGrp="1"/>
          </p:cNvSpPr>
          <p:nvPr>
            <p:ph type="dt" sz="half" idx="11"/>
          </p:nvPr>
        </p:nvSpPr>
        <p:spPr/>
        <p:txBody>
          <a:bodyPr/>
          <a:lstStyle/>
          <a:p>
            <a:r>
              <a:rPr lang="en-US" altLang="zh-CN" noProof="0"/>
              <a:t>28 . Mar . 2025</a:t>
            </a:r>
            <a:endParaRPr lang="en-US" noProof="0" dirty="0"/>
          </a:p>
        </p:txBody>
      </p:sp>
      <p:sp>
        <p:nvSpPr>
          <p:cNvPr id="6" name="灯片编号占位符 5">
            <a:extLst>
              <a:ext uri="{FF2B5EF4-FFF2-40B4-BE49-F238E27FC236}">
                <a16:creationId xmlns:a16="http://schemas.microsoft.com/office/drawing/2014/main" id="{C770F8F8-509D-4E35-4461-9A4ADAD57953}"/>
              </a:ext>
            </a:extLst>
          </p:cNvPr>
          <p:cNvSpPr>
            <a:spLocks noGrp="1"/>
          </p:cNvSpPr>
          <p:nvPr>
            <p:ph type="sldNum" sz="quarter" idx="12"/>
          </p:nvPr>
        </p:nvSpPr>
        <p:spPr/>
        <p:txBody>
          <a:bodyPr/>
          <a:lstStyle/>
          <a:p>
            <a:fld id="{6B54B0F7-55DD-40D6-B7F4-70B586885C0B}" type="slidenum">
              <a:rPr lang="en-US" smtClean="0"/>
              <a:pPr/>
              <a:t>24</a:t>
            </a:fld>
            <a:r>
              <a:rPr lang="en-US"/>
              <a:t>/37</a:t>
            </a:r>
            <a:endParaRPr lang="en-US" noProof="0" dirty="0"/>
          </a:p>
        </p:txBody>
      </p:sp>
    </p:spTree>
    <p:custDataLst>
      <p:tags r:id="rId1"/>
    </p:custDataLst>
    <p:extLst>
      <p:ext uri="{BB962C8B-B14F-4D97-AF65-F5344CB8AC3E}">
        <p14:creationId xmlns:p14="http://schemas.microsoft.com/office/powerpoint/2010/main" val="271249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Package</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D73B230C-1EC0-DB92-63AE-5824227C67CC}"/>
              </a:ext>
            </a:extLst>
          </p:cNvPr>
          <p:cNvSpPr txBox="1"/>
          <p:nvPr/>
        </p:nvSpPr>
        <p:spPr>
          <a:xfrm>
            <a:off x="398254" y="878517"/>
            <a:ext cx="10155446" cy="461665"/>
          </a:xfrm>
          <a:prstGeom prst="rect">
            <a:avLst/>
          </a:prstGeom>
          <a:noFill/>
        </p:spPr>
        <p:txBody>
          <a:bodyPr wrap="square" rtlCol="0">
            <a:spAutoFit/>
          </a:bodyPr>
          <a:lstStyle/>
          <a:p>
            <a:r>
              <a:rPr lang="en-US" altLang="zh-CN" sz="2400" b="1">
                <a:latin typeface="微软雅黑" panose="020B0503020204020204" pitchFamily="34" charset="-122"/>
                <a:ea typeface="微软雅黑" panose="020B0503020204020204" pitchFamily="34" charset="-122"/>
              </a:rPr>
              <a:t>Main functions Diagram: </a:t>
            </a:r>
            <a:r>
              <a:rPr lang="en-US" altLang="zh-CN" sz="2400" b="1">
                <a:solidFill>
                  <a:srgbClr val="C00000"/>
                </a:solidFill>
              </a:rPr>
              <a:t>rules-based automatic processing</a:t>
            </a:r>
            <a:endParaRPr lang="zh-CN" altLang="en-US" sz="2400" b="1">
              <a:solidFill>
                <a:srgbClr val="C00000"/>
              </a:solidFill>
              <a:latin typeface="微软雅黑" panose="020B0503020204020204" pitchFamily="34" charset="-122"/>
              <a:ea typeface="微软雅黑" panose="020B0503020204020204" pitchFamily="34" charset="-122"/>
            </a:endParaRPr>
          </a:p>
        </p:txBody>
      </p:sp>
      <p:grpSp>
        <p:nvGrpSpPr>
          <p:cNvPr id="10" name="组合 9">
            <a:extLst>
              <a:ext uri="{FF2B5EF4-FFF2-40B4-BE49-F238E27FC236}">
                <a16:creationId xmlns:a16="http://schemas.microsoft.com/office/drawing/2014/main" id="{E8CB8AC3-67FF-8CA9-87C4-1939D2656823}"/>
              </a:ext>
            </a:extLst>
          </p:cNvPr>
          <p:cNvGrpSpPr/>
          <p:nvPr/>
        </p:nvGrpSpPr>
        <p:grpSpPr>
          <a:xfrm>
            <a:off x="307961" y="2449794"/>
            <a:ext cx="1600200" cy="790575"/>
            <a:chOff x="1038225" y="2286000"/>
            <a:chExt cx="1600200" cy="790575"/>
          </a:xfrm>
        </p:grpSpPr>
        <p:sp>
          <p:nvSpPr>
            <p:cNvPr id="7" name="矩形: 圆角 6">
              <a:extLst>
                <a:ext uri="{FF2B5EF4-FFF2-40B4-BE49-F238E27FC236}">
                  <a16:creationId xmlns:a16="http://schemas.microsoft.com/office/drawing/2014/main" id="{8907E449-E83B-37DD-AB05-11F7D56BE435}"/>
                </a:ext>
              </a:extLst>
            </p:cNvPr>
            <p:cNvSpPr/>
            <p:nvPr/>
          </p:nvSpPr>
          <p:spPr>
            <a:xfrm>
              <a:off x="1038225" y="2286000"/>
              <a:ext cx="1600200" cy="790575"/>
            </a:xfrm>
            <a:prstGeom prst="roundRect">
              <a:avLst/>
            </a:prstGeom>
            <a:noFill/>
            <a:ln w="28575">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a:extLst>
                <a:ext uri="{FF2B5EF4-FFF2-40B4-BE49-F238E27FC236}">
                  <a16:creationId xmlns:a16="http://schemas.microsoft.com/office/drawing/2014/main" id="{F490EF64-FAF0-B97B-203E-6506952896C2}"/>
                </a:ext>
              </a:extLst>
            </p:cNvPr>
            <p:cNvSpPr txBox="1"/>
            <p:nvPr/>
          </p:nvSpPr>
          <p:spPr>
            <a:xfrm>
              <a:off x="1038225" y="2450454"/>
              <a:ext cx="1600200" cy="461665"/>
            </a:xfrm>
            <a:prstGeom prst="rect">
              <a:avLst/>
            </a:prstGeom>
            <a:noFill/>
          </p:spPr>
          <p:txBody>
            <a:bodyPr wrap="square" rtlCol="0">
              <a:spAutoFit/>
            </a:bodyPr>
            <a:lstStyle/>
            <a:p>
              <a:pPr algn="ctr"/>
              <a:r>
                <a:rPr lang="en-US" altLang="zh-CN" sz="1200" b="1"/>
                <a:t>P21 Report</a:t>
              </a:r>
              <a:r>
                <a:rPr lang="en-US" altLang="zh-CN" sz="1200"/>
                <a:t>:</a:t>
              </a:r>
            </a:p>
            <a:p>
              <a:pPr algn="ctr"/>
              <a:r>
                <a:rPr lang="en-US" altLang="zh-CN" sz="1200"/>
                <a:t>Latest &amp; Previous </a:t>
              </a:r>
              <a:endParaRPr lang="zh-CN" altLang="en-US" sz="1200"/>
            </a:p>
          </p:txBody>
        </p:sp>
      </p:grpSp>
      <p:sp>
        <p:nvSpPr>
          <p:cNvPr id="12" name="椭圆 11">
            <a:extLst>
              <a:ext uri="{FF2B5EF4-FFF2-40B4-BE49-F238E27FC236}">
                <a16:creationId xmlns:a16="http://schemas.microsoft.com/office/drawing/2014/main" id="{DE9130D1-9495-491F-ADF0-50917B63AE29}"/>
              </a:ext>
            </a:extLst>
          </p:cNvPr>
          <p:cNvSpPr/>
          <p:nvPr/>
        </p:nvSpPr>
        <p:spPr>
          <a:xfrm>
            <a:off x="2832084" y="2449794"/>
            <a:ext cx="2221200" cy="790575"/>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87572D68-3DED-F6CD-835D-6F341161B11A}"/>
              </a:ext>
            </a:extLst>
          </p:cNvPr>
          <p:cNvSpPr txBox="1"/>
          <p:nvPr/>
        </p:nvSpPr>
        <p:spPr>
          <a:xfrm>
            <a:off x="2832086" y="2706580"/>
            <a:ext cx="2221198" cy="276999"/>
          </a:xfrm>
          <a:prstGeom prst="rect">
            <a:avLst/>
          </a:prstGeom>
          <a:noFill/>
        </p:spPr>
        <p:txBody>
          <a:bodyPr wrap="square" rtlCol="0">
            <a:spAutoFit/>
          </a:bodyPr>
          <a:lstStyle/>
          <a:p>
            <a:pPr algn="ctr"/>
            <a:r>
              <a:rPr lang="en-US" altLang="zh-CN" sz="1200" b="1" dirty="0">
                <a:solidFill>
                  <a:srgbClr val="C00000"/>
                </a:solidFill>
              </a:rPr>
              <a:t>1-read_p21_report </a:t>
            </a:r>
            <a:endParaRPr lang="zh-CN" altLang="en-US" sz="1200" b="1" dirty="0">
              <a:solidFill>
                <a:srgbClr val="C00000"/>
              </a:solidFill>
            </a:endParaRPr>
          </a:p>
        </p:txBody>
      </p:sp>
      <p:grpSp>
        <p:nvGrpSpPr>
          <p:cNvPr id="14" name="组合 13">
            <a:extLst>
              <a:ext uri="{FF2B5EF4-FFF2-40B4-BE49-F238E27FC236}">
                <a16:creationId xmlns:a16="http://schemas.microsoft.com/office/drawing/2014/main" id="{51899C9E-5C5D-F3B1-1FFE-DE5AE31877AB}"/>
              </a:ext>
            </a:extLst>
          </p:cNvPr>
          <p:cNvGrpSpPr/>
          <p:nvPr/>
        </p:nvGrpSpPr>
        <p:grpSpPr>
          <a:xfrm>
            <a:off x="307961" y="3652473"/>
            <a:ext cx="1600200" cy="790575"/>
            <a:chOff x="1038225" y="2286000"/>
            <a:chExt cx="1600200" cy="790575"/>
          </a:xfrm>
        </p:grpSpPr>
        <p:sp>
          <p:nvSpPr>
            <p:cNvPr id="15" name="矩形: 圆角 14">
              <a:extLst>
                <a:ext uri="{FF2B5EF4-FFF2-40B4-BE49-F238E27FC236}">
                  <a16:creationId xmlns:a16="http://schemas.microsoft.com/office/drawing/2014/main" id="{07131DBE-4ED3-D514-5BC8-DB13BFA8BD77}"/>
                </a:ext>
              </a:extLst>
            </p:cNvPr>
            <p:cNvSpPr/>
            <p:nvPr/>
          </p:nvSpPr>
          <p:spPr>
            <a:xfrm>
              <a:off x="1038225" y="2286000"/>
              <a:ext cx="1600200" cy="790575"/>
            </a:xfrm>
            <a:prstGeom prst="roundRect">
              <a:avLst/>
            </a:prstGeom>
            <a:noFill/>
            <a:ln w="28575">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6AFA667F-85A9-CD0A-98CE-F3AFC3F40A52}"/>
                </a:ext>
              </a:extLst>
            </p:cNvPr>
            <p:cNvSpPr txBox="1"/>
            <p:nvPr/>
          </p:nvSpPr>
          <p:spPr>
            <a:xfrm>
              <a:off x="1038225" y="2450454"/>
              <a:ext cx="1600200" cy="461665"/>
            </a:xfrm>
            <a:prstGeom prst="rect">
              <a:avLst/>
            </a:prstGeom>
            <a:noFill/>
          </p:spPr>
          <p:txBody>
            <a:bodyPr wrap="square" rtlCol="0">
              <a:spAutoFit/>
            </a:bodyPr>
            <a:lstStyle/>
            <a:p>
              <a:pPr algn="ctr"/>
              <a:r>
                <a:rPr lang="en-US" altLang="zh-CN" sz="1200" b="1" dirty="0"/>
                <a:t>SDTM Datasets</a:t>
              </a:r>
              <a:r>
                <a:rPr lang="en-US" altLang="zh-CN" sz="1200" dirty="0"/>
                <a:t>:</a:t>
              </a:r>
            </a:p>
            <a:p>
              <a:pPr algn="ctr"/>
              <a:r>
                <a:rPr lang="en-US" altLang="zh-CN" sz="1200" dirty="0" err="1"/>
                <a:t>xpt</a:t>
              </a:r>
              <a:r>
                <a:rPr lang="en-US" altLang="zh-CN" sz="1200" dirty="0"/>
                <a:t> form</a:t>
              </a:r>
              <a:endParaRPr lang="zh-CN" altLang="en-US" sz="1200" dirty="0"/>
            </a:p>
          </p:txBody>
        </p:sp>
      </p:grpSp>
      <p:sp>
        <p:nvSpPr>
          <p:cNvPr id="17" name="箭头: 右 16">
            <a:extLst>
              <a:ext uri="{FF2B5EF4-FFF2-40B4-BE49-F238E27FC236}">
                <a16:creationId xmlns:a16="http://schemas.microsoft.com/office/drawing/2014/main" id="{04559FBC-9DED-A234-FC30-13FD358456B8}"/>
              </a:ext>
            </a:extLst>
          </p:cNvPr>
          <p:cNvSpPr/>
          <p:nvPr/>
        </p:nvSpPr>
        <p:spPr>
          <a:xfrm>
            <a:off x="2219219" y="1715278"/>
            <a:ext cx="476250" cy="34989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29A93464-8591-8581-10A8-777A419F81DB}"/>
              </a:ext>
            </a:extLst>
          </p:cNvPr>
          <p:cNvSpPr/>
          <p:nvPr/>
        </p:nvSpPr>
        <p:spPr>
          <a:xfrm>
            <a:off x="2832086" y="3652473"/>
            <a:ext cx="2221200" cy="790575"/>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BEE49E4E-C332-11F5-99AB-F2FD0431E68D}"/>
              </a:ext>
            </a:extLst>
          </p:cNvPr>
          <p:cNvSpPr txBox="1"/>
          <p:nvPr/>
        </p:nvSpPr>
        <p:spPr>
          <a:xfrm>
            <a:off x="2832086" y="3909259"/>
            <a:ext cx="2221198" cy="276999"/>
          </a:xfrm>
          <a:prstGeom prst="rect">
            <a:avLst/>
          </a:prstGeom>
          <a:noFill/>
        </p:spPr>
        <p:txBody>
          <a:bodyPr wrap="square" rtlCol="0">
            <a:spAutoFit/>
          </a:bodyPr>
          <a:lstStyle/>
          <a:p>
            <a:pPr algn="ctr"/>
            <a:r>
              <a:rPr lang="en-US" altLang="zh-CN" sz="1200" b="1">
                <a:solidFill>
                  <a:srgbClr val="C00000"/>
                </a:solidFill>
              </a:rPr>
              <a:t>2-read_xpt_files </a:t>
            </a:r>
            <a:endParaRPr lang="zh-CN" altLang="en-US" sz="1200" b="1">
              <a:solidFill>
                <a:srgbClr val="C00000"/>
              </a:solidFill>
            </a:endParaRPr>
          </a:p>
        </p:txBody>
      </p:sp>
      <p:grpSp>
        <p:nvGrpSpPr>
          <p:cNvPr id="20" name="组合 19">
            <a:extLst>
              <a:ext uri="{FF2B5EF4-FFF2-40B4-BE49-F238E27FC236}">
                <a16:creationId xmlns:a16="http://schemas.microsoft.com/office/drawing/2014/main" id="{B6A335DD-4AA5-71D8-0CD7-BEA537C1F44F}"/>
              </a:ext>
            </a:extLst>
          </p:cNvPr>
          <p:cNvGrpSpPr/>
          <p:nvPr/>
        </p:nvGrpSpPr>
        <p:grpSpPr>
          <a:xfrm>
            <a:off x="307961" y="4983444"/>
            <a:ext cx="1600200" cy="790575"/>
            <a:chOff x="1038225" y="2286000"/>
            <a:chExt cx="1600200" cy="790575"/>
          </a:xfrm>
        </p:grpSpPr>
        <p:sp>
          <p:nvSpPr>
            <p:cNvPr id="21" name="矩形: 圆角 20">
              <a:extLst>
                <a:ext uri="{FF2B5EF4-FFF2-40B4-BE49-F238E27FC236}">
                  <a16:creationId xmlns:a16="http://schemas.microsoft.com/office/drawing/2014/main" id="{AB3915A6-5445-79D0-AB69-47542C4D2363}"/>
                </a:ext>
              </a:extLst>
            </p:cNvPr>
            <p:cNvSpPr/>
            <p:nvPr/>
          </p:nvSpPr>
          <p:spPr>
            <a:xfrm>
              <a:off x="1038225" y="2286000"/>
              <a:ext cx="1600200" cy="790575"/>
            </a:xfrm>
            <a:prstGeom prst="roundRect">
              <a:avLst/>
            </a:prstGeom>
            <a:noFill/>
            <a:ln w="28575">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14D92B19-699F-1807-CE43-201356F898FE}"/>
                </a:ext>
              </a:extLst>
            </p:cNvPr>
            <p:cNvSpPr txBox="1"/>
            <p:nvPr/>
          </p:nvSpPr>
          <p:spPr>
            <a:xfrm>
              <a:off x="1038225" y="2358117"/>
              <a:ext cx="1600200" cy="646331"/>
            </a:xfrm>
            <a:prstGeom prst="rect">
              <a:avLst/>
            </a:prstGeom>
            <a:noFill/>
          </p:spPr>
          <p:txBody>
            <a:bodyPr wrap="square" rtlCol="0">
              <a:spAutoFit/>
            </a:bodyPr>
            <a:lstStyle/>
            <a:p>
              <a:pPr algn="ctr"/>
              <a:r>
                <a:rPr lang="en-US" altLang="zh-CN" sz="1200" b="1"/>
                <a:t>Rules file:</a:t>
              </a:r>
            </a:p>
            <a:p>
              <a:pPr algn="ctr"/>
              <a:r>
                <a:rPr lang="en-US" altLang="zh-CN" sz="1200"/>
                <a:t>Company specific rules &amp; P21 rules</a:t>
              </a:r>
              <a:endParaRPr lang="zh-CN" altLang="en-US" sz="1200"/>
            </a:p>
          </p:txBody>
        </p:sp>
      </p:grpSp>
      <p:sp>
        <p:nvSpPr>
          <p:cNvPr id="24" name="椭圆 23">
            <a:extLst>
              <a:ext uri="{FF2B5EF4-FFF2-40B4-BE49-F238E27FC236}">
                <a16:creationId xmlns:a16="http://schemas.microsoft.com/office/drawing/2014/main" id="{58D60B90-D8BA-5260-5E6A-CA893C679CDD}"/>
              </a:ext>
            </a:extLst>
          </p:cNvPr>
          <p:cNvSpPr/>
          <p:nvPr/>
        </p:nvSpPr>
        <p:spPr>
          <a:xfrm>
            <a:off x="2832086" y="4983444"/>
            <a:ext cx="2221200" cy="792000"/>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a:extLst>
              <a:ext uri="{FF2B5EF4-FFF2-40B4-BE49-F238E27FC236}">
                <a16:creationId xmlns:a16="http://schemas.microsoft.com/office/drawing/2014/main" id="{7D43F30D-EFD1-247C-0AAC-F733521E5B12}"/>
              </a:ext>
            </a:extLst>
          </p:cNvPr>
          <p:cNvSpPr txBox="1"/>
          <p:nvPr/>
        </p:nvSpPr>
        <p:spPr>
          <a:xfrm>
            <a:off x="2841611" y="5240228"/>
            <a:ext cx="2047875" cy="276999"/>
          </a:xfrm>
          <a:prstGeom prst="rect">
            <a:avLst/>
          </a:prstGeom>
          <a:noFill/>
        </p:spPr>
        <p:txBody>
          <a:bodyPr wrap="square" rtlCol="0">
            <a:spAutoFit/>
          </a:bodyPr>
          <a:lstStyle/>
          <a:p>
            <a:pPr algn="ctr"/>
            <a:endParaRPr lang="zh-CN" altLang="en-US" sz="1200"/>
          </a:p>
        </p:txBody>
      </p:sp>
      <p:sp>
        <p:nvSpPr>
          <p:cNvPr id="27" name="文本框 26">
            <a:extLst>
              <a:ext uri="{FF2B5EF4-FFF2-40B4-BE49-F238E27FC236}">
                <a16:creationId xmlns:a16="http://schemas.microsoft.com/office/drawing/2014/main" id="{4D53D48A-5C7C-455D-8888-9C890368A2DF}"/>
              </a:ext>
            </a:extLst>
          </p:cNvPr>
          <p:cNvSpPr txBox="1"/>
          <p:nvPr/>
        </p:nvSpPr>
        <p:spPr>
          <a:xfrm>
            <a:off x="2874367" y="4943022"/>
            <a:ext cx="2114550" cy="830997"/>
          </a:xfrm>
          <a:prstGeom prst="rect">
            <a:avLst/>
          </a:prstGeom>
          <a:noFill/>
        </p:spPr>
        <p:txBody>
          <a:bodyPr wrap="square" rtlCol="0">
            <a:spAutoFit/>
          </a:bodyPr>
          <a:lstStyle/>
          <a:p>
            <a:pPr algn="ctr"/>
            <a:r>
              <a:rPr lang="en-US" altLang="zh-CN" sz="1200" b="1">
                <a:solidFill>
                  <a:srgbClr val="C00000"/>
                </a:solidFill>
              </a:rPr>
              <a:t>3-read_p21_rule_action/read_p21_rule_decision </a:t>
            </a:r>
            <a:endParaRPr lang="zh-CN" altLang="en-US" sz="1200" b="1">
              <a:solidFill>
                <a:srgbClr val="C00000"/>
              </a:solidFill>
            </a:endParaRPr>
          </a:p>
        </p:txBody>
      </p:sp>
      <p:sp>
        <p:nvSpPr>
          <p:cNvPr id="32" name="椭圆 31">
            <a:extLst>
              <a:ext uri="{FF2B5EF4-FFF2-40B4-BE49-F238E27FC236}">
                <a16:creationId xmlns:a16="http://schemas.microsoft.com/office/drawing/2014/main" id="{531E02AB-EFDF-1F78-AB3B-E6BEBF4FCE2A}"/>
              </a:ext>
            </a:extLst>
          </p:cNvPr>
          <p:cNvSpPr/>
          <p:nvPr/>
        </p:nvSpPr>
        <p:spPr>
          <a:xfrm>
            <a:off x="5287701" y="3638086"/>
            <a:ext cx="2219325" cy="790575"/>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a:extLst>
              <a:ext uri="{FF2B5EF4-FFF2-40B4-BE49-F238E27FC236}">
                <a16:creationId xmlns:a16="http://schemas.microsoft.com/office/drawing/2014/main" id="{5191EAB9-052E-6D3F-7B3C-EEE891943CC4}"/>
              </a:ext>
            </a:extLst>
          </p:cNvPr>
          <p:cNvSpPr txBox="1"/>
          <p:nvPr/>
        </p:nvSpPr>
        <p:spPr>
          <a:xfrm>
            <a:off x="5288246" y="3718980"/>
            <a:ext cx="2324100" cy="664610"/>
          </a:xfrm>
          <a:prstGeom prst="rect">
            <a:avLst/>
          </a:prstGeom>
          <a:noFill/>
        </p:spPr>
        <p:txBody>
          <a:bodyPr wrap="square" rtlCol="0">
            <a:spAutoFit/>
          </a:bodyPr>
          <a:lstStyle/>
          <a:p>
            <a:pPr algn="ctr"/>
            <a:r>
              <a:rPr lang="en-US" altLang="zh-CN" sz="1200" b="1" dirty="0">
                <a:solidFill>
                  <a:srgbClr val="C00000"/>
                </a:solidFill>
              </a:rPr>
              <a:t>5-Ease_P21:</a:t>
            </a:r>
          </a:p>
          <a:p>
            <a:pPr marL="171450" indent="-171450" algn="ctr">
              <a:buFont typeface="Arial" panose="020B0604020202020204" pitchFamily="34" charset="0"/>
              <a:buChar char="•"/>
            </a:pPr>
            <a:r>
              <a:rPr lang="en-US" altLang="zh-CN" sz="1200" dirty="0"/>
              <a:t>P21_summart_report </a:t>
            </a:r>
          </a:p>
          <a:p>
            <a:pPr marL="171450" indent="-171450" algn="ctr">
              <a:buFont typeface="Arial" panose="020B0604020202020204" pitchFamily="34" charset="0"/>
              <a:buChar char="•"/>
            </a:pPr>
            <a:r>
              <a:rPr lang="en-US" altLang="zh-CN" sz="1200" dirty="0"/>
              <a:t>p21_dm_report</a:t>
            </a:r>
            <a:endParaRPr lang="zh-CN" altLang="en-US" sz="1200" dirty="0"/>
          </a:p>
        </p:txBody>
      </p:sp>
      <p:sp>
        <p:nvSpPr>
          <p:cNvPr id="36" name="矩形: 圆角 35">
            <a:extLst>
              <a:ext uri="{FF2B5EF4-FFF2-40B4-BE49-F238E27FC236}">
                <a16:creationId xmlns:a16="http://schemas.microsoft.com/office/drawing/2014/main" id="{6A6FE825-4B16-8B07-05DB-3E821FA2858E}"/>
              </a:ext>
            </a:extLst>
          </p:cNvPr>
          <p:cNvSpPr/>
          <p:nvPr/>
        </p:nvSpPr>
        <p:spPr>
          <a:xfrm>
            <a:off x="8470381" y="3584712"/>
            <a:ext cx="3476626" cy="853376"/>
          </a:xfrm>
          <a:prstGeom prst="roundRect">
            <a:avLst/>
          </a:prstGeom>
          <a:noFill/>
          <a:ln w="28575">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a:extLst>
              <a:ext uri="{FF2B5EF4-FFF2-40B4-BE49-F238E27FC236}">
                <a16:creationId xmlns:a16="http://schemas.microsoft.com/office/drawing/2014/main" id="{0A0CD8BA-C7EA-FA39-BBAF-90686CC55DDC}"/>
              </a:ext>
            </a:extLst>
          </p:cNvPr>
          <p:cNvSpPr txBox="1"/>
          <p:nvPr/>
        </p:nvSpPr>
        <p:spPr>
          <a:xfrm>
            <a:off x="8576294" y="3638086"/>
            <a:ext cx="3459600" cy="1015663"/>
          </a:xfrm>
          <a:prstGeom prst="rect">
            <a:avLst/>
          </a:prstGeom>
          <a:noFill/>
        </p:spPr>
        <p:txBody>
          <a:bodyPr wrap="square" rtlCol="0">
            <a:spAutoFit/>
          </a:bodyPr>
          <a:lstStyle/>
          <a:p>
            <a:pPr marL="171450" indent="-171450">
              <a:buFont typeface="Wingdings" panose="05000000000000000000" pitchFamily="2" charset="2"/>
              <a:buChar char="Ø"/>
            </a:pPr>
            <a:r>
              <a:rPr lang="en-US" altLang="zh-CN" sz="1200" dirty="0"/>
              <a:t>Output </a:t>
            </a:r>
            <a:r>
              <a:rPr lang="en-US" altLang="zh-CN" sz="1200" b="1" dirty="0"/>
              <a:t>Summary report</a:t>
            </a:r>
            <a:r>
              <a:rPr lang="en-US" altLang="zh-CN" sz="1200" dirty="0"/>
              <a:t>: </a:t>
            </a:r>
          </a:p>
          <a:p>
            <a:pPr lvl="1"/>
            <a:r>
              <a:rPr lang="en-US" altLang="zh-CN" sz="1200" dirty="0"/>
              <a:t>Fix tips for Statistical programmer</a:t>
            </a:r>
          </a:p>
          <a:p>
            <a:pPr marL="171450" indent="-171450">
              <a:buFont typeface="Wingdings" panose="05000000000000000000" pitchFamily="2" charset="2"/>
              <a:buChar char="Ø"/>
            </a:pPr>
            <a:r>
              <a:rPr lang="en-US" altLang="zh-CN" sz="1200" dirty="0"/>
              <a:t>Output </a:t>
            </a:r>
            <a:r>
              <a:rPr lang="en-US" altLang="zh-CN" sz="1200" b="1" dirty="0"/>
              <a:t>DM report</a:t>
            </a:r>
            <a:r>
              <a:rPr lang="en-US" altLang="zh-CN" sz="1200" dirty="0"/>
              <a:t>: </a:t>
            </a:r>
          </a:p>
          <a:p>
            <a:pPr lvl="1"/>
            <a:r>
              <a:rPr lang="en-US" altLang="zh-CN" sz="1200" dirty="0"/>
              <a:t>Data issues for data manager</a:t>
            </a:r>
          </a:p>
          <a:p>
            <a:endParaRPr lang="zh-CN" altLang="en-US" sz="1200" dirty="0"/>
          </a:p>
        </p:txBody>
      </p:sp>
      <p:sp>
        <p:nvSpPr>
          <p:cNvPr id="38" name="椭圆 37">
            <a:extLst>
              <a:ext uri="{FF2B5EF4-FFF2-40B4-BE49-F238E27FC236}">
                <a16:creationId xmlns:a16="http://schemas.microsoft.com/office/drawing/2014/main" id="{08A10C46-A81E-D1E6-4D62-31274CCDA600}"/>
              </a:ext>
            </a:extLst>
          </p:cNvPr>
          <p:cNvSpPr/>
          <p:nvPr/>
        </p:nvSpPr>
        <p:spPr>
          <a:xfrm>
            <a:off x="5288246" y="4983444"/>
            <a:ext cx="2219325" cy="792000"/>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文本框 38">
            <a:extLst>
              <a:ext uri="{FF2B5EF4-FFF2-40B4-BE49-F238E27FC236}">
                <a16:creationId xmlns:a16="http://schemas.microsoft.com/office/drawing/2014/main" id="{94FFF5CD-812D-0D81-94C9-A2094B30C998}"/>
              </a:ext>
            </a:extLst>
          </p:cNvPr>
          <p:cNvSpPr txBox="1"/>
          <p:nvPr/>
        </p:nvSpPr>
        <p:spPr>
          <a:xfrm>
            <a:off x="5345941" y="5240944"/>
            <a:ext cx="2209799" cy="276999"/>
          </a:xfrm>
          <a:prstGeom prst="rect">
            <a:avLst/>
          </a:prstGeom>
          <a:noFill/>
        </p:spPr>
        <p:txBody>
          <a:bodyPr wrap="square" rtlCol="0">
            <a:spAutoFit/>
          </a:bodyPr>
          <a:lstStyle/>
          <a:p>
            <a:pPr algn="ctr"/>
            <a:r>
              <a:rPr lang="en-US" altLang="zh-CN" sz="1200" b="1">
                <a:solidFill>
                  <a:srgbClr val="C00000"/>
                </a:solidFill>
              </a:rPr>
              <a:t>6-P21_link_data</a:t>
            </a:r>
            <a:endParaRPr lang="zh-CN" altLang="en-US" sz="1200" b="1">
              <a:solidFill>
                <a:srgbClr val="C00000"/>
              </a:solidFill>
            </a:endParaRPr>
          </a:p>
        </p:txBody>
      </p:sp>
      <p:sp>
        <p:nvSpPr>
          <p:cNvPr id="42" name="矩形: 圆角 41">
            <a:extLst>
              <a:ext uri="{FF2B5EF4-FFF2-40B4-BE49-F238E27FC236}">
                <a16:creationId xmlns:a16="http://schemas.microsoft.com/office/drawing/2014/main" id="{746692E7-D942-E89F-2132-41938C78980E}"/>
              </a:ext>
            </a:extLst>
          </p:cNvPr>
          <p:cNvSpPr/>
          <p:nvPr/>
        </p:nvSpPr>
        <p:spPr>
          <a:xfrm>
            <a:off x="8500639" y="4907213"/>
            <a:ext cx="3459600" cy="853200"/>
          </a:xfrm>
          <a:prstGeom prst="roundRect">
            <a:avLst/>
          </a:prstGeom>
          <a:noFill/>
          <a:ln w="28575">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a:extLst>
              <a:ext uri="{FF2B5EF4-FFF2-40B4-BE49-F238E27FC236}">
                <a16:creationId xmlns:a16="http://schemas.microsoft.com/office/drawing/2014/main" id="{2D9F105C-AB8C-ED11-B9D7-AF0E0E5BDC24}"/>
              </a:ext>
            </a:extLst>
          </p:cNvPr>
          <p:cNvSpPr txBox="1"/>
          <p:nvPr/>
        </p:nvSpPr>
        <p:spPr>
          <a:xfrm>
            <a:off x="8470926" y="5102980"/>
            <a:ext cx="3411206" cy="461665"/>
          </a:xfrm>
          <a:prstGeom prst="rect">
            <a:avLst/>
          </a:prstGeom>
          <a:noFill/>
        </p:spPr>
        <p:txBody>
          <a:bodyPr wrap="square" rtlCol="0">
            <a:spAutoFit/>
          </a:bodyPr>
          <a:lstStyle/>
          <a:p>
            <a:pPr marL="171450" indent="-171450">
              <a:buFont typeface="Wingdings" panose="05000000000000000000" pitchFamily="2" charset="2"/>
              <a:buChar char="Ø"/>
            </a:pPr>
            <a:r>
              <a:rPr lang="en-US" altLang="zh-CN" sz="1200" err="1"/>
              <a:t>Ouptput</a:t>
            </a:r>
            <a:r>
              <a:rPr lang="en-US" altLang="zh-CN" sz="1200"/>
              <a:t> </a:t>
            </a:r>
            <a:r>
              <a:rPr lang="en-US" altLang="zh-CN" sz="1200" b="1"/>
              <a:t>Link data</a:t>
            </a:r>
            <a:r>
              <a:rPr lang="en-US" altLang="zh-CN" sz="1200"/>
              <a:t>:</a:t>
            </a:r>
          </a:p>
          <a:p>
            <a:pPr lvl="1"/>
            <a:r>
              <a:rPr lang="en-US" altLang="zh-CN" sz="1200"/>
              <a:t>Details directly link to data</a:t>
            </a:r>
            <a:endParaRPr lang="zh-CN" altLang="en-US" sz="1200"/>
          </a:p>
        </p:txBody>
      </p:sp>
      <p:sp>
        <p:nvSpPr>
          <p:cNvPr id="45" name="矩形 44">
            <a:extLst>
              <a:ext uri="{FF2B5EF4-FFF2-40B4-BE49-F238E27FC236}">
                <a16:creationId xmlns:a16="http://schemas.microsoft.com/office/drawing/2014/main" id="{F209CE40-9702-2FF8-2602-78AB598F5B90}"/>
              </a:ext>
            </a:extLst>
          </p:cNvPr>
          <p:cNvSpPr/>
          <p:nvPr/>
        </p:nvSpPr>
        <p:spPr>
          <a:xfrm>
            <a:off x="219074" y="2306919"/>
            <a:ext cx="1812831" cy="3565828"/>
          </a:xfrm>
          <a:prstGeom prst="rect">
            <a:avLst/>
          </a:prstGeom>
          <a:noFill/>
          <a:ln w="19050">
            <a:solidFill>
              <a:schemeClr val="accent1">
                <a:lumMod val="50000"/>
                <a:lumOff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a:extLst>
              <a:ext uri="{FF2B5EF4-FFF2-40B4-BE49-F238E27FC236}">
                <a16:creationId xmlns:a16="http://schemas.microsoft.com/office/drawing/2014/main" id="{89C16E86-5EE5-F3FF-F164-A51426AB5F3D}"/>
              </a:ext>
            </a:extLst>
          </p:cNvPr>
          <p:cNvSpPr/>
          <p:nvPr/>
        </p:nvSpPr>
        <p:spPr>
          <a:xfrm>
            <a:off x="2753366" y="2264844"/>
            <a:ext cx="4819390" cy="3565828"/>
          </a:xfrm>
          <a:prstGeom prst="rect">
            <a:avLst/>
          </a:prstGeom>
          <a:noFill/>
          <a:ln w="19050">
            <a:solidFill>
              <a:schemeClr val="accent1">
                <a:lumMod val="50000"/>
                <a:lumOff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sp>
        <p:nvSpPr>
          <p:cNvPr id="53" name="矩形 52">
            <a:extLst>
              <a:ext uri="{FF2B5EF4-FFF2-40B4-BE49-F238E27FC236}">
                <a16:creationId xmlns:a16="http://schemas.microsoft.com/office/drawing/2014/main" id="{B2D1FDBA-3BC9-0518-F35B-6CD6A4682BBF}"/>
              </a:ext>
            </a:extLst>
          </p:cNvPr>
          <p:cNvSpPr/>
          <p:nvPr/>
        </p:nvSpPr>
        <p:spPr>
          <a:xfrm>
            <a:off x="8401208" y="2270394"/>
            <a:ext cx="3647918" cy="3565828"/>
          </a:xfrm>
          <a:prstGeom prst="rect">
            <a:avLst/>
          </a:prstGeom>
          <a:noFill/>
          <a:ln w="19050">
            <a:solidFill>
              <a:schemeClr val="accent1">
                <a:lumMod val="50000"/>
                <a:lumOff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sp>
        <p:nvSpPr>
          <p:cNvPr id="56" name="矩形 55">
            <a:extLst>
              <a:ext uri="{FF2B5EF4-FFF2-40B4-BE49-F238E27FC236}">
                <a16:creationId xmlns:a16="http://schemas.microsoft.com/office/drawing/2014/main" id="{83BF9A09-922B-ECBE-5C5E-B6D7A59183C2}"/>
              </a:ext>
            </a:extLst>
          </p:cNvPr>
          <p:cNvSpPr/>
          <p:nvPr/>
        </p:nvSpPr>
        <p:spPr>
          <a:xfrm>
            <a:off x="3057355" y="1662572"/>
            <a:ext cx="4153070" cy="4597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PROCESS</a:t>
            </a:r>
            <a:endParaRPr lang="zh-CN" altLang="en-US"/>
          </a:p>
        </p:txBody>
      </p:sp>
      <p:sp>
        <p:nvSpPr>
          <p:cNvPr id="58" name="矩形 57">
            <a:extLst>
              <a:ext uri="{FF2B5EF4-FFF2-40B4-BE49-F238E27FC236}">
                <a16:creationId xmlns:a16="http://schemas.microsoft.com/office/drawing/2014/main" id="{C9B6AA94-D48D-375C-A2BD-019D41D30300}"/>
              </a:ext>
            </a:extLst>
          </p:cNvPr>
          <p:cNvSpPr/>
          <p:nvPr/>
        </p:nvSpPr>
        <p:spPr>
          <a:xfrm>
            <a:off x="8601076" y="1656297"/>
            <a:ext cx="3197280" cy="4597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OUTPUT</a:t>
            </a:r>
            <a:endParaRPr lang="zh-CN" altLang="en-US"/>
          </a:p>
        </p:txBody>
      </p:sp>
      <p:sp>
        <p:nvSpPr>
          <p:cNvPr id="59" name="矩形 58">
            <a:extLst>
              <a:ext uri="{FF2B5EF4-FFF2-40B4-BE49-F238E27FC236}">
                <a16:creationId xmlns:a16="http://schemas.microsoft.com/office/drawing/2014/main" id="{985C7847-0051-DB73-C2B1-52142149180D}"/>
              </a:ext>
            </a:extLst>
          </p:cNvPr>
          <p:cNvSpPr/>
          <p:nvPr/>
        </p:nvSpPr>
        <p:spPr>
          <a:xfrm>
            <a:off x="393644" y="1672007"/>
            <a:ext cx="1463689" cy="4597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INPUT</a:t>
            </a:r>
            <a:endParaRPr lang="zh-CN" altLang="en-US"/>
          </a:p>
        </p:txBody>
      </p:sp>
      <p:cxnSp>
        <p:nvCxnSpPr>
          <p:cNvPr id="4" name="直接箭头连接符 3">
            <a:extLst>
              <a:ext uri="{FF2B5EF4-FFF2-40B4-BE49-F238E27FC236}">
                <a16:creationId xmlns:a16="http://schemas.microsoft.com/office/drawing/2014/main" id="{79500EE1-3A8F-EAE5-8C15-FA6DC693A75A}"/>
              </a:ext>
            </a:extLst>
          </p:cNvPr>
          <p:cNvCxnSpPr>
            <a:cxnSpLocks/>
          </p:cNvCxnSpPr>
          <p:nvPr/>
        </p:nvCxnSpPr>
        <p:spPr>
          <a:xfrm>
            <a:off x="2058656" y="2874398"/>
            <a:ext cx="69088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箭头: 右 5">
            <a:extLst>
              <a:ext uri="{FF2B5EF4-FFF2-40B4-BE49-F238E27FC236}">
                <a16:creationId xmlns:a16="http://schemas.microsoft.com/office/drawing/2014/main" id="{07E09513-F1D6-72DF-18D4-989C8415E781}"/>
              </a:ext>
            </a:extLst>
          </p:cNvPr>
          <p:cNvSpPr/>
          <p:nvPr/>
        </p:nvSpPr>
        <p:spPr>
          <a:xfrm>
            <a:off x="7767905" y="1711214"/>
            <a:ext cx="476250" cy="34989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9" name="直接箭头连接符 28">
            <a:extLst>
              <a:ext uri="{FF2B5EF4-FFF2-40B4-BE49-F238E27FC236}">
                <a16:creationId xmlns:a16="http://schemas.microsoft.com/office/drawing/2014/main" id="{6B57363B-6A4D-BDCB-2C82-BFCE24BE1C51}"/>
              </a:ext>
            </a:extLst>
          </p:cNvPr>
          <p:cNvCxnSpPr>
            <a:cxnSpLocks/>
          </p:cNvCxnSpPr>
          <p:nvPr/>
        </p:nvCxnSpPr>
        <p:spPr>
          <a:xfrm>
            <a:off x="2058656" y="4036448"/>
            <a:ext cx="69088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a:extLst>
              <a:ext uri="{FF2B5EF4-FFF2-40B4-BE49-F238E27FC236}">
                <a16:creationId xmlns:a16="http://schemas.microsoft.com/office/drawing/2014/main" id="{17CC9F17-8808-6B8D-DD49-F8D2A726E17A}"/>
              </a:ext>
            </a:extLst>
          </p:cNvPr>
          <p:cNvCxnSpPr>
            <a:cxnSpLocks/>
          </p:cNvCxnSpPr>
          <p:nvPr/>
        </p:nvCxnSpPr>
        <p:spPr>
          <a:xfrm>
            <a:off x="7647355" y="4033373"/>
            <a:ext cx="69088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a:extLst>
              <a:ext uri="{FF2B5EF4-FFF2-40B4-BE49-F238E27FC236}">
                <a16:creationId xmlns:a16="http://schemas.microsoft.com/office/drawing/2014/main" id="{8CA2474A-30BF-4DA4-9E79-D00F6D3A4B53}"/>
              </a:ext>
            </a:extLst>
          </p:cNvPr>
          <p:cNvCxnSpPr>
            <a:cxnSpLocks/>
          </p:cNvCxnSpPr>
          <p:nvPr/>
        </p:nvCxnSpPr>
        <p:spPr>
          <a:xfrm>
            <a:off x="7633880" y="5379443"/>
            <a:ext cx="69088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5" name="椭圆 4">
            <a:extLst>
              <a:ext uri="{FF2B5EF4-FFF2-40B4-BE49-F238E27FC236}">
                <a16:creationId xmlns:a16="http://schemas.microsoft.com/office/drawing/2014/main" id="{CCC6D3E5-992E-E800-4AA7-709511FE1057}"/>
              </a:ext>
            </a:extLst>
          </p:cNvPr>
          <p:cNvSpPr/>
          <p:nvPr/>
        </p:nvSpPr>
        <p:spPr>
          <a:xfrm>
            <a:off x="5285826" y="2449079"/>
            <a:ext cx="2221200" cy="792000"/>
          </a:xfrm>
          <a:prstGeom prst="ellipse">
            <a:avLst/>
          </a:prstGeom>
          <a:no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C59DC977-EA0B-1EBC-165A-B1B667052335}"/>
              </a:ext>
            </a:extLst>
          </p:cNvPr>
          <p:cNvSpPr txBox="1"/>
          <p:nvPr/>
        </p:nvSpPr>
        <p:spPr>
          <a:xfrm>
            <a:off x="5293621" y="2702656"/>
            <a:ext cx="2114550" cy="276999"/>
          </a:xfrm>
          <a:prstGeom prst="rect">
            <a:avLst/>
          </a:prstGeom>
          <a:noFill/>
        </p:spPr>
        <p:txBody>
          <a:bodyPr wrap="square" rtlCol="0">
            <a:spAutoFit/>
          </a:bodyPr>
          <a:lstStyle/>
          <a:p>
            <a:pPr algn="ctr"/>
            <a:r>
              <a:rPr lang="en-US" altLang="zh-CN" sz="1200" b="1">
                <a:solidFill>
                  <a:srgbClr val="C00000"/>
                </a:solidFill>
              </a:rPr>
              <a:t>4-P21_dataset_list</a:t>
            </a:r>
            <a:endParaRPr lang="zh-CN" altLang="en-US" sz="1200" b="1">
              <a:solidFill>
                <a:srgbClr val="C00000"/>
              </a:solidFill>
            </a:endParaRPr>
          </a:p>
        </p:txBody>
      </p:sp>
      <p:cxnSp>
        <p:nvCxnSpPr>
          <p:cNvPr id="23" name="直接箭头连接符 22">
            <a:extLst>
              <a:ext uri="{FF2B5EF4-FFF2-40B4-BE49-F238E27FC236}">
                <a16:creationId xmlns:a16="http://schemas.microsoft.com/office/drawing/2014/main" id="{E2068C3F-A013-1BD0-ED7D-155EAE928403}"/>
              </a:ext>
            </a:extLst>
          </p:cNvPr>
          <p:cNvCxnSpPr>
            <a:cxnSpLocks/>
          </p:cNvCxnSpPr>
          <p:nvPr/>
        </p:nvCxnSpPr>
        <p:spPr>
          <a:xfrm>
            <a:off x="2058656" y="5378726"/>
            <a:ext cx="69088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日期占位符 25">
            <a:extLst>
              <a:ext uri="{FF2B5EF4-FFF2-40B4-BE49-F238E27FC236}">
                <a16:creationId xmlns:a16="http://schemas.microsoft.com/office/drawing/2014/main" id="{AC61936F-E4A6-276D-B618-27C3756E05EE}"/>
              </a:ext>
            </a:extLst>
          </p:cNvPr>
          <p:cNvSpPr>
            <a:spLocks noGrp="1"/>
          </p:cNvSpPr>
          <p:nvPr>
            <p:ph type="dt" sz="half" idx="11"/>
          </p:nvPr>
        </p:nvSpPr>
        <p:spPr/>
        <p:txBody>
          <a:bodyPr/>
          <a:lstStyle/>
          <a:p>
            <a:r>
              <a:rPr lang="en-US" altLang="zh-CN" noProof="0"/>
              <a:t>28 . Mar . 2025</a:t>
            </a:r>
            <a:endParaRPr lang="en-US" noProof="0" dirty="0"/>
          </a:p>
        </p:txBody>
      </p:sp>
      <p:sp>
        <p:nvSpPr>
          <p:cNvPr id="30" name="灯片编号占位符 29">
            <a:extLst>
              <a:ext uri="{FF2B5EF4-FFF2-40B4-BE49-F238E27FC236}">
                <a16:creationId xmlns:a16="http://schemas.microsoft.com/office/drawing/2014/main" id="{B9D3E042-80A7-12D5-98BA-1675A0787332}"/>
              </a:ext>
            </a:extLst>
          </p:cNvPr>
          <p:cNvSpPr>
            <a:spLocks noGrp="1"/>
          </p:cNvSpPr>
          <p:nvPr>
            <p:ph type="sldNum" sz="quarter" idx="12"/>
          </p:nvPr>
        </p:nvSpPr>
        <p:spPr/>
        <p:txBody>
          <a:bodyPr/>
          <a:lstStyle/>
          <a:p>
            <a:fld id="{6B54B0F7-55DD-40D6-B7F4-70B586885C0B}" type="slidenum">
              <a:rPr lang="en-US" smtClean="0"/>
              <a:pPr/>
              <a:t>25</a:t>
            </a:fld>
            <a:r>
              <a:rPr lang="en-US"/>
              <a:t>/37</a:t>
            </a:r>
            <a:endParaRPr lang="en-US" noProof="0" dirty="0"/>
          </a:p>
        </p:txBody>
      </p:sp>
    </p:spTree>
    <p:custDataLst>
      <p:tags r:id="rId1"/>
    </p:custDataLst>
    <p:extLst>
      <p:ext uri="{BB962C8B-B14F-4D97-AF65-F5344CB8AC3E}">
        <p14:creationId xmlns:p14="http://schemas.microsoft.com/office/powerpoint/2010/main" val="119102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Package</a:t>
            </a:r>
            <a:endParaRPr lang="en-US" altLang="zh-CN" sz="3200">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2A43402A-4091-DBE0-BF01-404AA54E1DD5}"/>
              </a:ext>
            </a:extLst>
          </p:cNvPr>
          <p:cNvSpPr txBox="1"/>
          <p:nvPr/>
        </p:nvSpPr>
        <p:spPr>
          <a:xfrm>
            <a:off x="271653" y="829890"/>
            <a:ext cx="6967728" cy="461665"/>
          </a:xfrm>
          <a:prstGeom prst="rect">
            <a:avLst/>
          </a:prstGeom>
          <a:noFill/>
        </p:spPr>
        <p:txBody>
          <a:bodyPr wrap="square" rtlCol="0">
            <a:spAutoFit/>
          </a:bodyPr>
          <a:lstStyle/>
          <a:p>
            <a:r>
              <a:rPr lang="en-US" altLang="zh-CN" sz="2400" b="1">
                <a:latin typeface="微软雅黑" panose="020B0503020204020204" pitchFamily="34" charset="-122"/>
                <a:ea typeface="微软雅黑" panose="020B0503020204020204" pitchFamily="34" charset="-122"/>
              </a:rPr>
              <a:t>Functions details</a:t>
            </a:r>
            <a:endParaRPr lang="zh-CN" altLang="en-US" sz="2400" b="1">
              <a:latin typeface="微软雅黑" panose="020B0503020204020204" pitchFamily="34" charset="-122"/>
              <a:ea typeface="微软雅黑" panose="020B0503020204020204" pitchFamily="34" charset="-122"/>
            </a:endParaRPr>
          </a:p>
        </p:txBody>
      </p:sp>
      <p:graphicFrame>
        <p:nvGraphicFramePr>
          <p:cNvPr id="4" name="表格 3">
            <a:extLst>
              <a:ext uri="{FF2B5EF4-FFF2-40B4-BE49-F238E27FC236}">
                <a16:creationId xmlns:a16="http://schemas.microsoft.com/office/drawing/2014/main" id="{228C5499-E791-BBD2-1DAD-03F049017485}"/>
              </a:ext>
            </a:extLst>
          </p:cNvPr>
          <p:cNvGraphicFramePr>
            <a:graphicFrameLocks noGrp="1"/>
          </p:cNvGraphicFramePr>
          <p:nvPr>
            <p:extLst>
              <p:ext uri="{D42A27DB-BD31-4B8C-83A1-F6EECF244321}">
                <p14:modId xmlns:p14="http://schemas.microsoft.com/office/powerpoint/2010/main" val="425808143"/>
              </p:ext>
            </p:extLst>
          </p:nvPr>
        </p:nvGraphicFramePr>
        <p:xfrm>
          <a:off x="1259776" y="1425694"/>
          <a:ext cx="9672447" cy="4820920"/>
        </p:xfrm>
        <a:graphic>
          <a:graphicData uri="http://schemas.openxmlformats.org/drawingml/2006/table">
            <a:tbl>
              <a:tblPr firstRow="1" bandRow="1">
                <a:tableStyleId>{2D5ABB26-0587-4C30-8999-92F81FD0307C}</a:tableStyleId>
              </a:tblPr>
              <a:tblGrid>
                <a:gridCol w="2871597">
                  <a:extLst>
                    <a:ext uri="{9D8B030D-6E8A-4147-A177-3AD203B41FA5}">
                      <a16:colId xmlns:a16="http://schemas.microsoft.com/office/drawing/2014/main" val="2108589591"/>
                    </a:ext>
                  </a:extLst>
                </a:gridCol>
                <a:gridCol w="6800850">
                  <a:extLst>
                    <a:ext uri="{9D8B030D-6E8A-4147-A177-3AD203B41FA5}">
                      <a16:colId xmlns:a16="http://schemas.microsoft.com/office/drawing/2014/main" val="3085105650"/>
                    </a:ext>
                  </a:extLst>
                </a:gridCol>
              </a:tblGrid>
              <a:tr h="370840">
                <a:tc>
                  <a:txBody>
                    <a:bodyPr/>
                    <a:lstStyle/>
                    <a:p>
                      <a:r>
                        <a:rPr lang="en-US" altLang="zh-CN" sz="1400" b="0" i="0" kern="1200">
                          <a:solidFill>
                            <a:schemeClr val="tx1"/>
                          </a:solidFill>
                          <a:effectLst/>
                          <a:latin typeface="+mn-lt"/>
                          <a:ea typeface="+mj-ea"/>
                          <a:cs typeface="+mn-cs"/>
                        </a:rPr>
                        <a:t>Functions</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Describe</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7009604"/>
                  </a:ext>
                </a:extLst>
              </a:tr>
              <a:tr h="3708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1" i="0" kern="1200">
                          <a:solidFill>
                            <a:srgbClr val="C00000"/>
                          </a:solidFill>
                          <a:effectLst/>
                          <a:latin typeface="+mn-lt"/>
                          <a:ea typeface="+mj-ea"/>
                          <a:cs typeface="+mn-cs"/>
                        </a:rPr>
                        <a:t>Read sources fil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0310975"/>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dirty="0">
                          <a:solidFill>
                            <a:schemeClr val="tx1"/>
                          </a:solidFill>
                          <a:effectLst/>
                          <a:latin typeface="+mn-lt"/>
                          <a:ea typeface="+mj-ea"/>
                          <a:cs typeface="+mn-cs"/>
                        </a:rPr>
                        <a:t>read_p21_report</a:t>
                      </a:r>
                      <a:endParaRPr lang="zh-CN" altLang="en-US" sz="1400" b="0" i="0" kern="1200" dirty="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0" i="0" kern="1200">
                          <a:solidFill>
                            <a:schemeClr val="tx1"/>
                          </a:solidFill>
                          <a:effectLst/>
                          <a:latin typeface="+mn-lt"/>
                          <a:ea typeface="+mj-ea"/>
                          <a:cs typeface="+mn-cs"/>
                        </a:rPr>
                        <a:t>Read Pinnacle 21 Validator Report Excel Fi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9389429"/>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dirty="0" err="1">
                          <a:solidFill>
                            <a:schemeClr val="tx1"/>
                          </a:solidFill>
                          <a:effectLst/>
                          <a:latin typeface="+mn-lt"/>
                          <a:ea typeface="+mj-ea"/>
                          <a:cs typeface="+mn-cs"/>
                        </a:rPr>
                        <a:t>read_xpt_files</a:t>
                      </a:r>
                      <a:endParaRPr lang="en-US" altLang="zh-CN" sz="1400" b="0" i="0" kern="1200" dirty="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Read XPT files from a specified directory</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4212432"/>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dirty="0">
                          <a:solidFill>
                            <a:schemeClr val="tx1"/>
                          </a:solidFill>
                          <a:effectLst/>
                          <a:latin typeface="+mn-lt"/>
                          <a:ea typeface="+mj-ea"/>
                          <a:cs typeface="+mn-cs"/>
                        </a:rPr>
                        <a:t>read_p21_rule_a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Read Pinnacle 21 Validation Rules Action Plan Excel File</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2553887"/>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dirty="0">
                          <a:solidFill>
                            <a:schemeClr val="tx1"/>
                          </a:solidFill>
                          <a:effectLst/>
                          <a:latin typeface="+mn-lt"/>
                          <a:ea typeface="+mj-ea"/>
                          <a:cs typeface="+mn-cs"/>
                        </a:rPr>
                        <a:t>read_p21_rule_decis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altLang="zh-CN" sz="1400" b="0" i="0" kern="1200">
                          <a:solidFill>
                            <a:schemeClr val="tx1"/>
                          </a:solidFill>
                          <a:effectLst/>
                          <a:latin typeface="+mn-lt"/>
                          <a:ea typeface="+mn-ea"/>
                          <a:cs typeface="+mn-cs"/>
                        </a:rPr>
                        <a:t>Read Pinnacle 21 Validation Rules Decision Excel File</a:t>
                      </a:r>
                      <a:endParaRPr lang="zh-CN" altLang="en-US" sz="14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2008938"/>
                  </a:ext>
                </a:extLst>
              </a:tr>
              <a:tr h="3708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lang="en-US" altLang="zh-CN"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9645435"/>
                  </a:ext>
                </a:extLst>
              </a:tr>
              <a:tr h="3708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1" i="0" kern="1200">
                          <a:solidFill>
                            <a:srgbClr val="C00000"/>
                          </a:solidFill>
                          <a:effectLst/>
                          <a:latin typeface="+mn-lt"/>
                          <a:ea typeface="+mj-ea"/>
                          <a:cs typeface="+mn-cs"/>
                        </a:rPr>
                        <a:t>Integrate and Proc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0028318"/>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a:solidFill>
                            <a:schemeClr val="tx1"/>
                          </a:solidFill>
                          <a:effectLst/>
                          <a:latin typeface="+mn-lt"/>
                          <a:ea typeface="+mj-ea"/>
                          <a:cs typeface="+mn-cs"/>
                        </a:rPr>
                        <a:t>p21_dataset_li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Integrate P21 report and XPT data</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3884881"/>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a:solidFill>
                            <a:schemeClr val="tx1"/>
                          </a:solidFill>
                          <a:effectLst/>
                          <a:latin typeface="+mn-lt"/>
                          <a:ea typeface="+mj-ea"/>
                          <a:cs typeface="+mn-cs"/>
                        </a:rPr>
                        <a:t>p21_summary_report</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0" i="0" kern="1200">
                          <a:solidFill>
                            <a:schemeClr val="tx1"/>
                          </a:solidFill>
                          <a:effectLst/>
                          <a:latin typeface="+mn-lt"/>
                          <a:ea typeface="+mj-ea"/>
                          <a:cs typeface="+mn-cs"/>
                        </a:rPr>
                        <a:t>Summary report contains the explanation example and action pl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6597926"/>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a:solidFill>
                            <a:schemeClr val="tx1"/>
                          </a:solidFill>
                          <a:effectLst/>
                          <a:latin typeface="+mn-lt"/>
                          <a:ea typeface="+mj-ea"/>
                          <a:cs typeface="+mn-cs"/>
                        </a:rPr>
                        <a:t>p21_dm_repo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Data issues report for data management and track the data issues status</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8185544"/>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a:solidFill>
                            <a:schemeClr val="tx1"/>
                          </a:solidFill>
                          <a:effectLst/>
                          <a:latin typeface="+mn-lt"/>
                          <a:ea typeface="+mj-ea"/>
                          <a:cs typeface="+mn-cs"/>
                        </a:rPr>
                        <a:t>p21_link_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400" b="0" i="0" kern="1200">
                          <a:solidFill>
                            <a:schemeClr val="tx1"/>
                          </a:solidFill>
                          <a:effectLst/>
                          <a:latin typeface="+mn-lt"/>
                          <a:ea typeface="+mj-ea"/>
                          <a:cs typeface="+mn-cs"/>
                        </a:rPr>
                        <a:t>Link the P21 report and XPT data</a:t>
                      </a:r>
                      <a:endParaRPr lang="zh-CN" altLang="en-US" sz="1400" b="0" i="0" kern="1200">
                        <a:solidFill>
                          <a:schemeClr val="tx1"/>
                        </a:solidFill>
                        <a:effectLst/>
                        <a:latin typeface="+mn-lt"/>
                        <a:ea typeface="+mj-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4685412"/>
                  </a:ext>
                </a:extLst>
              </a:tr>
              <a:tr h="370840">
                <a:tc>
                  <a:txBody>
                    <a:bodyPr/>
                    <a:lstStyle/>
                    <a:p>
                      <a:pPr marL="285750" marR="0" lvl="0" indent="-285750" algn="l" defTabSz="914354" rtl="0" eaLnBrk="1" fontAlgn="auto" latinLnBrk="0" hangingPunct="1">
                        <a:lnSpc>
                          <a:spcPct val="100000"/>
                        </a:lnSpc>
                        <a:spcBef>
                          <a:spcPts val="0"/>
                        </a:spcBef>
                        <a:spcAft>
                          <a:spcPts val="0"/>
                        </a:spcAft>
                        <a:buClrTx/>
                        <a:buSzTx/>
                        <a:buFont typeface="Wingdings" panose="05000000000000000000" pitchFamily="2" charset="2"/>
                        <a:buChar char="p"/>
                        <a:tabLst/>
                        <a:defRPr/>
                      </a:pPr>
                      <a:r>
                        <a:rPr lang="en-US" altLang="zh-CN" sz="1400" b="0" i="0" kern="1200">
                          <a:solidFill>
                            <a:schemeClr val="tx1"/>
                          </a:solidFill>
                          <a:effectLst/>
                          <a:latin typeface="+mn-lt"/>
                          <a:ea typeface="+mj-ea"/>
                          <a:cs typeface="+mn-cs"/>
                        </a:rPr>
                        <a:t>ease_P2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tx1"/>
                          </a:solidFill>
                          <a:effectLst/>
                          <a:latin typeface="+mn-lt"/>
                          <a:ea typeface="+mj-ea"/>
                          <a:cs typeface="+mn-cs"/>
                        </a:rPr>
                        <a:t>Wrap functions and generate P21 DM and Summary Reports at o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5657536"/>
                  </a:ext>
                </a:extLst>
              </a:tr>
            </a:tbl>
          </a:graphicData>
        </a:graphic>
      </p:graphicFrame>
      <p:sp>
        <p:nvSpPr>
          <p:cNvPr id="5" name="日期占位符 4">
            <a:extLst>
              <a:ext uri="{FF2B5EF4-FFF2-40B4-BE49-F238E27FC236}">
                <a16:creationId xmlns:a16="http://schemas.microsoft.com/office/drawing/2014/main" id="{408F73A6-F6A0-50A4-29B5-70960E71DCB5}"/>
              </a:ext>
            </a:extLst>
          </p:cNvPr>
          <p:cNvSpPr>
            <a:spLocks noGrp="1"/>
          </p:cNvSpPr>
          <p:nvPr>
            <p:ph type="dt" sz="half" idx="11"/>
          </p:nvPr>
        </p:nvSpPr>
        <p:spPr>
          <a:xfrm>
            <a:off x="4724399" y="6335468"/>
            <a:ext cx="2743200" cy="366183"/>
          </a:xfrm>
        </p:spPr>
        <p:txBody>
          <a:bodyPr/>
          <a:lstStyle/>
          <a:p>
            <a:r>
              <a:rPr lang="en-US" altLang="zh-CN" noProof="0" dirty="0"/>
              <a:t>28 . Mar . 2025</a:t>
            </a:r>
            <a:endParaRPr lang="en-US" noProof="0" dirty="0"/>
          </a:p>
        </p:txBody>
      </p:sp>
      <p:sp>
        <p:nvSpPr>
          <p:cNvPr id="7" name="灯片编号占位符 6">
            <a:extLst>
              <a:ext uri="{FF2B5EF4-FFF2-40B4-BE49-F238E27FC236}">
                <a16:creationId xmlns:a16="http://schemas.microsoft.com/office/drawing/2014/main" id="{7227C0C8-9A43-916D-F447-A4368CC6DBB1}"/>
              </a:ext>
            </a:extLst>
          </p:cNvPr>
          <p:cNvSpPr>
            <a:spLocks noGrp="1"/>
          </p:cNvSpPr>
          <p:nvPr>
            <p:ph type="sldNum" sz="quarter" idx="12"/>
          </p:nvPr>
        </p:nvSpPr>
        <p:spPr/>
        <p:txBody>
          <a:bodyPr/>
          <a:lstStyle/>
          <a:p>
            <a:fld id="{6B54B0F7-55DD-40D6-B7F4-70B586885C0B}" type="slidenum">
              <a:rPr lang="en-US" smtClean="0"/>
              <a:pPr/>
              <a:t>26</a:t>
            </a:fld>
            <a:r>
              <a:rPr lang="en-US"/>
              <a:t>/37</a:t>
            </a:r>
            <a:endParaRPr lang="en-US" noProof="0" dirty="0"/>
          </a:p>
        </p:txBody>
      </p:sp>
    </p:spTree>
    <p:custDataLst>
      <p:tags r:id="rId1"/>
    </p:custDataLst>
    <p:extLst>
      <p:ext uri="{BB962C8B-B14F-4D97-AF65-F5344CB8AC3E}">
        <p14:creationId xmlns:p14="http://schemas.microsoft.com/office/powerpoint/2010/main" val="88268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Package</a:t>
            </a:r>
            <a:endParaRPr lang="en-US" altLang="zh-CN" sz="3200">
              <a:latin typeface="微软雅黑" panose="020B0503020204020204" pitchFamily="34" charset="-122"/>
              <a:ea typeface="微软雅黑" panose="020B0503020204020204" pitchFamily="34" charset="-122"/>
            </a:endParaRPr>
          </a:p>
        </p:txBody>
      </p:sp>
      <p:pic>
        <p:nvPicPr>
          <p:cNvPr id="1026" name="Picture 2" descr="图像">
            <a:extLst>
              <a:ext uri="{FF2B5EF4-FFF2-40B4-BE49-F238E27FC236}">
                <a16:creationId xmlns:a16="http://schemas.microsoft.com/office/drawing/2014/main" id="{8A4D00B3-1C83-C65A-838E-F3955D18CE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5201" b="615"/>
          <a:stretch/>
        </p:blipFill>
        <p:spPr bwMode="auto">
          <a:xfrm>
            <a:off x="2081455" y="1296883"/>
            <a:ext cx="8023628" cy="4726800"/>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76D2FB12-450F-6005-84D6-62B178D2F86D}"/>
              </a:ext>
            </a:extLst>
          </p:cNvPr>
          <p:cNvSpPr txBox="1"/>
          <p:nvPr/>
        </p:nvSpPr>
        <p:spPr>
          <a:xfrm>
            <a:off x="271653" y="829890"/>
            <a:ext cx="6967728" cy="461665"/>
          </a:xfrm>
          <a:prstGeom prst="rect">
            <a:avLst/>
          </a:prstGeom>
          <a:noFill/>
        </p:spPr>
        <p:txBody>
          <a:bodyPr wrap="square" rtlCol="0">
            <a:spAutoFit/>
          </a:bodyPr>
          <a:lstStyle/>
          <a:p>
            <a:r>
              <a:rPr lang="en-US" altLang="zh-CN" sz="2400" b="1">
                <a:latin typeface="微软雅黑" panose="020B0503020204020204" pitchFamily="34" charset="-122"/>
                <a:ea typeface="微软雅黑" panose="020B0503020204020204" pitchFamily="34" charset="-122"/>
              </a:rPr>
              <a:t>Call Functions</a:t>
            </a:r>
            <a:endParaRPr lang="zh-CN" altLang="en-US" sz="2400" b="1">
              <a:latin typeface="微软雅黑" panose="020B0503020204020204" pitchFamily="34" charset="-122"/>
              <a:ea typeface="微软雅黑" panose="020B0503020204020204" pitchFamily="34" charset="-122"/>
            </a:endParaRPr>
          </a:p>
        </p:txBody>
      </p:sp>
      <p:sp>
        <p:nvSpPr>
          <p:cNvPr id="3" name="TextBox 2">
            <a:extLst>
              <a:ext uri="{FF2B5EF4-FFF2-40B4-BE49-F238E27FC236}">
                <a16:creationId xmlns:a16="http://schemas.microsoft.com/office/drawing/2014/main" id="{E040DA1B-6252-1FB3-AEC7-1D07631BA7A5}"/>
              </a:ext>
            </a:extLst>
          </p:cNvPr>
          <p:cNvSpPr txBox="1"/>
          <p:nvPr/>
        </p:nvSpPr>
        <p:spPr>
          <a:xfrm>
            <a:off x="1765725" y="6177604"/>
            <a:ext cx="934833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Verdana"/>
              </a:rPr>
              <a:t>**data under ‘</a:t>
            </a:r>
            <a:r>
              <a:rPr lang="en-US" sz="1400" err="1">
                <a:ea typeface="Verdana"/>
              </a:rPr>
              <a:t>sdtm</a:t>
            </a:r>
            <a:r>
              <a:rPr lang="en-US" sz="1400">
                <a:ea typeface="Verdana"/>
              </a:rPr>
              <a:t>` folder from [SDTM Metadata Submission Guidelines v2.0] (</a:t>
            </a:r>
            <a:r>
              <a:rPr lang="en-US" sz="1400">
                <a:ea typeface="Verdana"/>
                <a:hlinkClick r:id="rId5"/>
              </a:rPr>
              <a:t>https://www.cdisc.org/standards/foundational/sdtm/sdtm-metadata-submission-guidelines-v2-0</a:t>
            </a:r>
            <a:r>
              <a:rPr lang="en-US" sz="1400">
                <a:ea typeface="+mn-lt"/>
                <a:cs typeface="+mn-lt"/>
              </a:rPr>
              <a:t>）</a:t>
            </a:r>
            <a:endParaRPr lang="en-US"/>
          </a:p>
        </p:txBody>
      </p:sp>
      <p:sp>
        <p:nvSpPr>
          <p:cNvPr id="7" name="灯片编号占位符 6">
            <a:extLst>
              <a:ext uri="{FF2B5EF4-FFF2-40B4-BE49-F238E27FC236}">
                <a16:creationId xmlns:a16="http://schemas.microsoft.com/office/drawing/2014/main" id="{43A2C810-061E-C567-11E2-334AB9671AAF}"/>
              </a:ext>
            </a:extLst>
          </p:cNvPr>
          <p:cNvSpPr>
            <a:spLocks noGrp="1"/>
          </p:cNvSpPr>
          <p:nvPr>
            <p:ph type="sldNum" sz="quarter" idx="12"/>
          </p:nvPr>
        </p:nvSpPr>
        <p:spPr/>
        <p:txBody>
          <a:bodyPr/>
          <a:lstStyle/>
          <a:p>
            <a:fld id="{6B54B0F7-55DD-40D6-B7F4-70B586885C0B}" type="slidenum">
              <a:rPr lang="en-US" smtClean="0"/>
              <a:pPr/>
              <a:t>27</a:t>
            </a:fld>
            <a:r>
              <a:rPr lang="en-US"/>
              <a:t>/37</a:t>
            </a:r>
            <a:endParaRPr lang="en-US" noProof="0" dirty="0"/>
          </a:p>
        </p:txBody>
      </p:sp>
    </p:spTree>
    <p:custDataLst>
      <p:tags r:id="rId1"/>
    </p:custDataLst>
    <p:extLst>
      <p:ext uri="{BB962C8B-B14F-4D97-AF65-F5344CB8AC3E}">
        <p14:creationId xmlns:p14="http://schemas.microsoft.com/office/powerpoint/2010/main" val="26303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zh-CN" sz="4000" b="1" i="1"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easeP21: </a:t>
            </a:r>
            <a:r>
              <a:rPr kumimoji="0" lang="fr-FR" altLang="zh-CN" sz="4000" b="1"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cs"/>
              </a:rPr>
              <a:t>Shiny</a:t>
            </a:r>
            <a:endParaRPr kumimoji="0" lang="en-US" altLang="zh-CN" sz="3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 name="日期占位符 2">
            <a:extLst>
              <a:ext uri="{FF2B5EF4-FFF2-40B4-BE49-F238E27FC236}">
                <a16:creationId xmlns:a16="http://schemas.microsoft.com/office/drawing/2014/main" id="{47DBDB3E-282F-8BC4-365E-D9197AD04A24}"/>
              </a:ext>
            </a:extLst>
          </p:cNvPr>
          <p:cNvSpPr>
            <a:spLocks noGrp="1"/>
          </p:cNvSpPr>
          <p:nvPr>
            <p:ph type="dt" sz="half" idx="11"/>
          </p:nvPr>
        </p:nvSpPr>
        <p:spPr>
          <a:xfrm>
            <a:off x="4724399" y="6430329"/>
            <a:ext cx="2743200" cy="366183"/>
          </a:xfrm>
        </p:spPr>
        <p:txBody>
          <a:bodyPr/>
          <a:lstStyle/>
          <a:p>
            <a:r>
              <a:rPr lang="en-US" altLang="zh-CN" noProof="0"/>
              <a:t>28 . Mar . 2025</a:t>
            </a:r>
            <a:endParaRPr lang="en-US" noProof="0" dirty="0"/>
          </a:p>
        </p:txBody>
      </p:sp>
      <p:pic>
        <p:nvPicPr>
          <p:cNvPr id="6" name="屏幕录制 5">
            <a:hlinkClick r:id="" action="ppaction://media"/>
            <a:extLst>
              <a:ext uri="{FF2B5EF4-FFF2-40B4-BE49-F238E27FC236}">
                <a16:creationId xmlns:a16="http://schemas.microsoft.com/office/drawing/2014/main" id="{9F41DC18-5964-1EBC-5E4F-0E52F4602229}"/>
              </a:ext>
            </a:extLst>
          </p:cNvPr>
          <p:cNvPicPr>
            <a:picLocks noChangeAspect="1"/>
          </p:cNvPicPr>
          <p:nvPr>
            <a:videoFile r:link="rId3"/>
            <p:extLst>
              <p:ext uri="{DAA4B4D4-6D71-4841-9C94-3DE7FCFB9230}">
                <p14:media xmlns:p14="http://schemas.microsoft.com/office/powerpoint/2010/main" r:embed="rId2"/>
              </p:ext>
            </p:extLst>
          </p:nvPr>
        </p:nvPicPr>
        <p:blipFill>
          <a:blip r:embed="rId6"/>
          <a:stretch>
            <a:fillRect/>
          </a:stretch>
        </p:blipFill>
        <p:spPr>
          <a:xfrm>
            <a:off x="1000059" y="877466"/>
            <a:ext cx="10191879" cy="5365145"/>
          </a:xfrm>
          <a:prstGeom prst="rect">
            <a:avLst/>
          </a:prstGeom>
        </p:spPr>
      </p:pic>
      <p:sp>
        <p:nvSpPr>
          <p:cNvPr id="4" name="灯片编号占位符 3">
            <a:extLst>
              <a:ext uri="{FF2B5EF4-FFF2-40B4-BE49-F238E27FC236}">
                <a16:creationId xmlns:a16="http://schemas.microsoft.com/office/drawing/2014/main" id="{7ED9B71A-8CE9-B9FA-9FEC-D8477E0237DD}"/>
              </a:ext>
            </a:extLst>
          </p:cNvPr>
          <p:cNvSpPr>
            <a:spLocks noGrp="1"/>
          </p:cNvSpPr>
          <p:nvPr>
            <p:ph type="sldNum" sz="quarter" idx="12"/>
          </p:nvPr>
        </p:nvSpPr>
        <p:spPr/>
        <p:txBody>
          <a:bodyPr/>
          <a:lstStyle/>
          <a:p>
            <a:fld id="{6B54B0F7-55DD-40D6-B7F4-70B586885C0B}" type="slidenum">
              <a:rPr lang="en-US" smtClean="0"/>
              <a:pPr/>
              <a:t>28</a:t>
            </a:fld>
            <a:r>
              <a:rPr lang="en-US"/>
              <a:t>/37</a:t>
            </a:r>
            <a:endParaRPr lang="en-US" noProof="0" dirty="0"/>
          </a:p>
        </p:txBody>
      </p:sp>
    </p:spTree>
    <p:custDataLst>
      <p:tags r:id="rId1"/>
    </p:custDataLst>
    <p:extLst>
      <p:ext uri="{BB962C8B-B14F-4D97-AF65-F5344CB8AC3E}">
        <p14:creationId xmlns:p14="http://schemas.microsoft.com/office/powerpoint/2010/main" val="4213889648"/>
      </p:ext>
    </p:extLst>
  </p:cSld>
  <p:clrMapOvr>
    <a:masterClrMapping/>
  </p:clrMapOvr>
  <mc:AlternateContent xmlns:mc="http://schemas.openxmlformats.org/markup-compatibility/2006" xmlns:p14="http://schemas.microsoft.com/office/powerpoint/2010/main">
    <mc:Choice Requires="p14">
      <p:transition spd="med" p14:dur="700" advTm="17215">
        <p:fade/>
      </p:transition>
    </mc:Choice>
    <mc:Fallback xmlns="">
      <p:transition spd="med" advTm="1721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567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O</a:t>
            </a:r>
            <a:r>
              <a:rPr lang="en-US" altLang="zh-CN" sz="4000" b="1" err="1">
                <a:latin typeface="微软雅黑" panose="020B0503020204020204" pitchFamily="34" charset="-122"/>
                <a:ea typeface="微软雅黑" panose="020B0503020204020204" pitchFamily="34" charset="-122"/>
              </a:rPr>
              <a:t>utput</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4DAAEF1-9AFF-C425-C422-42AD03FB1F3D}"/>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Output — Summary Report</a:t>
            </a:r>
            <a:endParaRPr lang="zh-CN" altLang="en-US" sz="2400" b="1" dirty="0">
              <a:latin typeface="微软雅黑" panose="020B0503020204020204" pitchFamily="34" charset="-122"/>
              <a:ea typeface="微软雅黑" panose="020B0503020204020204" pitchFamily="34" charset="-122"/>
            </a:endParaRPr>
          </a:p>
        </p:txBody>
      </p:sp>
      <p:pic>
        <p:nvPicPr>
          <p:cNvPr id="5" name="图片 4">
            <a:extLst>
              <a:ext uri="{FF2B5EF4-FFF2-40B4-BE49-F238E27FC236}">
                <a16:creationId xmlns:a16="http://schemas.microsoft.com/office/drawing/2014/main" id="{ED8968CB-3917-935E-717E-85E2A9E67EAC}"/>
              </a:ext>
            </a:extLst>
          </p:cNvPr>
          <p:cNvPicPr>
            <a:picLocks noChangeAspect="1"/>
          </p:cNvPicPr>
          <p:nvPr/>
        </p:nvPicPr>
        <p:blipFill>
          <a:blip r:embed="rId4"/>
          <a:stretch>
            <a:fillRect/>
          </a:stretch>
        </p:blipFill>
        <p:spPr>
          <a:xfrm>
            <a:off x="393407" y="1527060"/>
            <a:ext cx="11405186" cy="4451579"/>
          </a:xfrm>
          <a:prstGeom prst="rect">
            <a:avLst/>
          </a:prstGeom>
        </p:spPr>
      </p:pic>
      <p:sp>
        <p:nvSpPr>
          <p:cNvPr id="4" name="日期占位符 3">
            <a:extLst>
              <a:ext uri="{FF2B5EF4-FFF2-40B4-BE49-F238E27FC236}">
                <a16:creationId xmlns:a16="http://schemas.microsoft.com/office/drawing/2014/main" id="{B1E1E68F-68E7-6541-87F3-B385D2652478}"/>
              </a:ext>
            </a:extLst>
          </p:cNvPr>
          <p:cNvSpPr>
            <a:spLocks noGrp="1"/>
          </p:cNvSpPr>
          <p:nvPr>
            <p:ph type="dt" sz="half" idx="11"/>
          </p:nvPr>
        </p:nvSpPr>
        <p:spPr/>
        <p:txBody>
          <a:bodyPr/>
          <a:lstStyle/>
          <a:p>
            <a:r>
              <a:rPr lang="en-US" altLang="zh-CN" noProof="0"/>
              <a:t>28 . Mar . 2025</a:t>
            </a:r>
            <a:endParaRPr lang="en-US" noProof="0" dirty="0"/>
          </a:p>
        </p:txBody>
      </p:sp>
      <p:sp>
        <p:nvSpPr>
          <p:cNvPr id="7" name="灯片编号占位符 6">
            <a:extLst>
              <a:ext uri="{FF2B5EF4-FFF2-40B4-BE49-F238E27FC236}">
                <a16:creationId xmlns:a16="http://schemas.microsoft.com/office/drawing/2014/main" id="{C920FCCD-D37E-268E-935C-6B86A4B7B6EE}"/>
              </a:ext>
            </a:extLst>
          </p:cNvPr>
          <p:cNvSpPr>
            <a:spLocks noGrp="1"/>
          </p:cNvSpPr>
          <p:nvPr>
            <p:ph type="sldNum" sz="quarter" idx="12"/>
          </p:nvPr>
        </p:nvSpPr>
        <p:spPr/>
        <p:txBody>
          <a:bodyPr/>
          <a:lstStyle/>
          <a:p>
            <a:fld id="{6B54B0F7-55DD-40D6-B7F4-70B586885C0B}" type="slidenum">
              <a:rPr lang="en-US" smtClean="0"/>
              <a:pPr/>
              <a:t>29</a:t>
            </a:fld>
            <a:r>
              <a:rPr lang="en-US"/>
              <a:t>/37</a:t>
            </a:r>
            <a:endParaRPr lang="en-US" noProof="0" dirty="0"/>
          </a:p>
        </p:txBody>
      </p:sp>
    </p:spTree>
    <p:custDataLst>
      <p:tags r:id="rId1"/>
    </p:custDataLst>
    <p:extLst>
      <p:ext uri="{BB962C8B-B14F-4D97-AF65-F5344CB8AC3E}">
        <p14:creationId xmlns:p14="http://schemas.microsoft.com/office/powerpoint/2010/main" val="6935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4">
            <a:extLst>
              <a:ext uri="{FF2B5EF4-FFF2-40B4-BE49-F238E27FC236}">
                <a16:creationId xmlns:a16="http://schemas.microsoft.com/office/drawing/2014/main" id="{71F2E3CC-41D3-4016-8F2B-2A0F19F92F65}"/>
              </a:ext>
            </a:extLst>
          </p:cNvPr>
          <p:cNvSpPr>
            <a:spLocks noGrp="1"/>
          </p:cNvSpPr>
          <p:nvPr/>
        </p:nvSpPr>
        <p:spPr>
          <a:xfrm>
            <a:off x="1025789" y="1932435"/>
            <a:ext cx="517952" cy="563307"/>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indent="-226800" algn="l" defTabSz="685800" rtl="0" eaLnBrk="1" latinLnBrk="0" hangingPunct="1">
              <a:lnSpc>
                <a:spcPct val="90000"/>
              </a:lnSpc>
              <a:spcBef>
                <a:spcPts val="300"/>
              </a:spcBef>
              <a:buClr>
                <a:schemeClr val="accent2"/>
              </a:buClr>
              <a:buFontTx/>
              <a:buBlip>
                <a:blip r:embed="rId2"/>
              </a:buBlip>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7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indent="-226800" algn="l" defTabSz="685800" rtl="0" eaLnBrk="1" latinLnBrk="0" hangingPunct="1">
              <a:lnSpc>
                <a:spcPct val="90000"/>
              </a:lnSpc>
              <a:spcBef>
                <a:spcPts val="300"/>
              </a:spcBef>
              <a:buFontTx/>
              <a:buBlip>
                <a:blip r:embed="rId2"/>
              </a:buBlip>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fr-FR" sz="2133"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01</a:t>
            </a:r>
          </a:p>
        </p:txBody>
      </p:sp>
      <p:sp>
        <p:nvSpPr>
          <p:cNvPr id="3" name="Text Placeholder 12">
            <a:extLst>
              <a:ext uri="{FF2B5EF4-FFF2-40B4-BE49-F238E27FC236}">
                <a16:creationId xmlns:a16="http://schemas.microsoft.com/office/drawing/2014/main" id="{2CD14321-D309-4D24-ABED-9ED41AA65019}"/>
              </a:ext>
            </a:extLst>
          </p:cNvPr>
          <p:cNvSpPr>
            <a:spLocks noGrp="1"/>
          </p:cNvSpPr>
          <p:nvPr/>
        </p:nvSpPr>
        <p:spPr>
          <a:xfrm>
            <a:off x="1025789" y="2725956"/>
            <a:ext cx="517952" cy="563307"/>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indent="-226800" algn="l" defTabSz="685800" rtl="0" eaLnBrk="1" latinLnBrk="0" hangingPunct="1">
              <a:lnSpc>
                <a:spcPct val="90000"/>
              </a:lnSpc>
              <a:spcBef>
                <a:spcPts val="300"/>
              </a:spcBef>
              <a:buClr>
                <a:schemeClr val="accent2"/>
              </a:buClr>
              <a:buFontTx/>
              <a:buBlip>
                <a:blip r:embed="rId2"/>
              </a:buBlip>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7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indent="-226800" algn="l" defTabSz="685800" rtl="0" eaLnBrk="1" latinLnBrk="0" hangingPunct="1">
              <a:lnSpc>
                <a:spcPct val="90000"/>
              </a:lnSpc>
              <a:spcBef>
                <a:spcPts val="300"/>
              </a:spcBef>
              <a:buFontTx/>
              <a:buBlip>
                <a:blip r:embed="rId2"/>
              </a:buBlip>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02</a:t>
            </a:r>
          </a:p>
        </p:txBody>
      </p:sp>
      <p:sp>
        <p:nvSpPr>
          <p:cNvPr id="5" name="Text Placeholder 13">
            <a:extLst>
              <a:ext uri="{FF2B5EF4-FFF2-40B4-BE49-F238E27FC236}">
                <a16:creationId xmlns:a16="http://schemas.microsoft.com/office/drawing/2014/main" id="{3FA48E3C-ACD2-43A8-A992-3583466CA9F3}"/>
              </a:ext>
            </a:extLst>
          </p:cNvPr>
          <p:cNvSpPr>
            <a:spLocks noGrp="1"/>
          </p:cNvSpPr>
          <p:nvPr/>
        </p:nvSpPr>
        <p:spPr>
          <a:xfrm>
            <a:off x="1025789" y="3513607"/>
            <a:ext cx="517952" cy="563307"/>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indent="-226800" algn="l" defTabSz="685800" rtl="0" eaLnBrk="1" latinLnBrk="0" hangingPunct="1">
              <a:lnSpc>
                <a:spcPct val="90000"/>
              </a:lnSpc>
              <a:spcBef>
                <a:spcPts val="300"/>
              </a:spcBef>
              <a:buClr>
                <a:schemeClr val="accent2"/>
              </a:buClr>
              <a:buFontTx/>
              <a:buBlip>
                <a:blip r:embed="rId2"/>
              </a:buBlip>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7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indent="-226800" algn="l" defTabSz="685800" rtl="0" eaLnBrk="1" latinLnBrk="0" hangingPunct="1">
              <a:lnSpc>
                <a:spcPct val="90000"/>
              </a:lnSpc>
              <a:spcBef>
                <a:spcPts val="300"/>
              </a:spcBef>
              <a:buFontTx/>
              <a:buBlip>
                <a:blip r:embed="rId2"/>
              </a:buBlip>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03</a:t>
            </a:r>
          </a:p>
        </p:txBody>
      </p:sp>
      <p:sp>
        <p:nvSpPr>
          <p:cNvPr id="8" name="Text Placeholder 21">
            <a:extLst>
              <a:ext uri="{FF2B5EF4-FFF2-40B4-BE49-F238E27FC236}">
                <a16:creationId xmlns:a16="http://schemas.microsoft.com/office/drawing/2014/main" id="{D13A1C66-276D-49F8-B81B-B86A70AAE456}"/>
              </a:ext>
            </a:extLst>
          </p:cNvPr>
          <p:cNvSpPr>
            <a:spLocks noGrp="1"/>
          </p:cNvSpPr>
          <p:nvPr/>
        </p:nvSpPr>
        <p:spPr>
          <a:xfrm>
            <a:off x="1774121" y="2729940"/>
            <a:ext cx="3982961" cy="323309"/>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ct val="90000"/>
              </a:lnSpc>
              <a:spcBef>
                <a:spcPts val="300"/>
              </a:spcBef>
              <a:buClr>
                <a:schemeClr val="accent2"/>
              </a:buClr>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226800" algn="l" defTabSz="685800" rtl="0" eaLnBrk="1" latinLnBrk="0" hangingPunct="1">
              <a:lnSpc>
                <a:spcPct val="90000"/>
              </a:lnSpc>
              <a:spcBef>
                <a:spcPts val="300"/>
              </a:spcBef>
              <a:buFontTx/>
              <a:buBlip>
                <a:blip r:embed="rId2"/>
              </a:buBlip>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Mechanisms and Principles</a:t>
            </a:r>
          </a:p>
        </p:txBody>
      </p:sp>
      <p:sp>
        <p:nvSpPr>
          <p:cNvPr id="9" name="Text Placeholder 23">
            <a:extLst>
              <a:ext uri="{FF2B5EF4-FFF2-40B4-BE49-F238E27FC236}">
                <a16:creationId xmlns:a16="http://schemas.microsoft.com/office/drawing/2014/main" id="{0F400AA1-B1DF-4D8C-83E5-C8E7D6BF6393}"/>
              </a:ext>
            </a:extLst>
          </p:cNvPr>
          <p:cNvSpPr>
            <a:spLocks noGrp="1"/>
          </p:cNvSpPr>
          <p:nvPr/>
        </p:nvSpPr>
        <p:spPr>
          <a:xfrm>
            <a:off x="1774121" y="3513611"/>
            <a:ext cx="3982961" cy="323309"/>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ct val="90000"/>
              </a:lnSpc>
              <a:spcBef>
                <a:spcPts val="300"/>
              </a:spcBef>
              <a:buClr>
                <a:schemeClr val="accent2"/>
              </a:buClr>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226800" algn="l" defTabSz="685800" rtl="0" eaLnBrk="1" latinLnBrk="0" hangingPunct="1">
              <a:lnSpc>
                <a:spcPct val="90000"/>
              </a:lnSpc>
              <a:spcBef>
                <a:spcPts val="300"/>
              </a:spcBef>
              <a:buFontTx/>
              <a:buBlip>
                <a:blip r:embed="rId2"/>
              </a:buBlip>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ool Intro: Functions &amp; Shiny</a:t>
            </a:r>
          </a:p>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p>
        </p:txBody>
      </p:sp>
      <p:sp>
        <p:nvSpPr>
          <p:cNvPr id="12" name="Text Placeholder 21">
            <a:extLst>
              <a:ext uri="{FF2B5EF4-FFF2-40B4-BE49-F238E27FC236}">
                <a16:creationId xmlns:a16="http://schemas.microsoft.com/office/drawing/2014/main" id="{FB3E111E-E73D-1376-54CB-BCB044CD0BCF}"/>
              </a:ext>
            </a:extLst>
          </p:cNvPr>
          <p:cNvSpPr>
            <a:spLocks noGrp="1"/>
          </p:cNvSpPr>
          <p:nvPr/>
        </p:nvSpPr>
        <p:spPr>
          <a:xfrm>
            <a:off x="1736914" y="1928588"/>
            <a:ext cx="3982961" cy="323309"/>
          </a:xfrm>
          <a:prstGeom prst="rect">
            <a:avLst/>
          </a:prstGeom>
        </p:spPr>
        <p:txBody>
          <a:bodyPr vert="horz" lIns="0" tIns="0" rIns="0" bIns="0" rtlCol="0">
            <a:noAutofit/>
          </a:bodyPr>
          <a:lstStyle>
            <a:lvl1pPr marL="0" indent="0" algn="l" defTabSz="685800" rtl="0" eaLnBrk="1" latinLnBrk="0" hangingPunct="1">
              <a:lnSpc>
                <a:spcPct val="90000"/>
              </a:lnSpc>
              <a:spcBef>
                <a:spcPts val="600"/>
              </a:spcBef>
              <a:buFont typeface="Arial" panose="020B0604020202020204" pitchFamily="34" charset="0"/>
              <a:buNone/>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ct val="90000"/>
              </a:lnSpc>
              <a:spcBef>
                <a:spcPts val="300"/>
              </a:spcBef>
              <a:buClr>
                <a:schemeClr val="accent2"/>
              </a:buClr>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90000"/>
              </a:lnSpc>
              <a:spcBef>
                <a:spcPts val="600"/>
              </a:spcBef>
              <a:buFontTx/>
              <a:buBlip>
                <a:blip r:embed="rId2"/>
              </a:buBlip>
              <a:defRPr sz="1600" b="0" i="0" kern="120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indent="-226800" algn="l" defTabSz="685800" rtl="0" eaLnBrk="1" latinLnBrk="0" hangingPunct="1">
              <a:lnSpc>
                <a:spcPct val="90000"/>
              </a:lnSpc>
              <a:spcBef>
                <a:spcPts val="300"/>
              </a:spcBef>
              <a:buFontTx/>
              <a:buBlip>
                <a:blip r:embed="rId2"/>
              </a:buBlip>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US" sz="21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Background</a:t>
            </a:r>
          </a:p>
          <a:p>
            <a:pPr marL="0" marR="0" lvl="0" indent="0" algn="l" defTabSz="914377" rtl="0" eaLnBrk="1" fontAlgn="auto" latinLnBrk="0" hangingPunct="1">
              <a:lnSpc>
                <a:spcPct val="90000"/>
              </a:lnSpc>
              <a:spcBef>
                <a:spcPts val="800"/>
              </a:spcBef>
              <a:spcAft>
                <a:spcPts val="0"/>
              </a:spcAft>
              <a:buClrTx/>
              <a:buSzTx/>
              <a:buFont typeface="Arial" panose="020B0604020202020204" pitchFamily="34" charset="0"/>
              <a:buNone/>
              <a:tabLst/>
              <a:defRPr/>
            </a:pPr>
            <a:endParaRPr kumimoji="0" lang="en-US" sz="21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pic>
        <p:nvPicPr>
          <p:cNvPr id="15" name="Picture 14">
            <a:extLst>
              <a:ext uri="{FF2B5EF4-FFF2-40B4-BE49-F238E27FC236}">
                <a16:creationId xmlns:a16="http://schemas.microsoft.com/office/drawing/2014/main" id="{B137D1CE-42C6-7E84-D540-D547A91C55F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07253" y="567686"/>
            <a:ext cx="6370464" cy="5877175"/>
          </a:xfrm>
          <a:prstGeom prst="rect">
            <a:avLst/>
          </a:prstGeom>
        </p:spPr>
      </p:pic>
      <p:sp>
        <p:nvSpPr>
          <p:cNvPr id="11" name="Rectangle 10">
            <a:extLst>
              <a:ext uri="{FF2B5EF4-FFF2-40B4-BE49-F238E27FC236}">
                <a16:creationId xmlns:a16="http://schemas.microsoft.com/office/drawing/2014/main" id="{AA756B4D-5194-994F-56A2-62364C494CA0}"/>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Content</a:t>
            </a:r>
            <a:endParaRPr kumimoji="0" lang="en-US"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 name="日期占位符 3">
            <a:extLst>
              <a:ext uri="{FF2B5EF4-FFF2-40B4-BE49-F238E27FC236}">
                <a16:creationId xmlns:a16="http://schemas.microsoft.com/office/drawing/2014/main" id="{8E4F84CD-D11D-C385-26BE-BB3587328FD5}"/>
              </a:ext>
            </a:extLst>
          </p:cNvPr>
          <p:cNvSpPr>
            <a:spLocks noGrp="1"/>
          </p:cNvSpPr>
          <p:nvPr>
            <p:ph type="dt" sz="half" idx="15"/>
          </p:nvPr>
        </p:nvSpPr>
        <p:spPr/>
        <p:txBody>
          <a:bodyPr/>
          <a:lstStyle/>
          <a:p>
            <a:r>
              <a:rPr lang="en-US" altLang="zh-CN" noProof="0"/>
              <a:t>28 . Mar . 2025</a:t>
            </a:r>
            <a:endParaRPr lang="en-US" noProof="0" dirty="0"/>
          </a:p>
        </p:txBody>
      </p:sp>
    </p:spTree>
    <p:extLst>
      <p:ext uri="{BB962C8B-B14F-4D97-AF65-F5344CB8AC3E}">
        <p14:creationId xmlns:p14="http://schemas.microsoft.com/office/powerpoint/2010/main" val="8859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8A19CD60-9805-B8AD-955E-C93900628B82}"/>
              </a:ext>
            </a:extLst>
          </p:cNvPr>
          <p:cNvPicPr>
            <a:picLocks noChangeAspect="1"/>
          </p:cNvPicPr>
          <p:nvPr/>
        </p:nvPicPr>
        <p:blipFill>
          <a:blip r:embed="rId4"/>
          <a:stretch>
            <a:fillRect/>
          </a:stretch>
        </p:blipFill>
        <p:spPr>
          <a:xfrm>
            <a:off x="2703204" y="1177997"/>
            <a:ext cx="5423516" cy="2398664"/>
          </a:xfrm>
          <a:prstGeom prst="rect">
            <a:avLst/>
          </a:prstGeom>
        </p:spPr>
      </p:pic>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O</a:t>
            </a:r>
            <a:r>
              <a:rPr lang="en-US" altLang="zh-CN" sz="4000" b="1" err="1">
                <a:latin typeface="微软雅黑" panose="020B0503020204020204" pitchFamily="34" charset="-122"/>
                <a:ea typeface="微软雅黑" panose="020B0503020204020204" pitchFamily="34" charset="-122"/>
              </a:rPr>
              <a:t>utput</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4DAAEF1-9AFF-C425-C422-42AD03FB1F3D}"/>
              </a:ext>
            </a:extLst>
          </p:cNvPr>
          <p:cNvSpPr txBox="1"/>
          <p:nvPr/>
        </p:nvSpPr>
        <p:spPr>
          <a:xfrm>
            <a:off x="385953" y="745360"/>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Output — Summary Report</a:t>
            </a:r>
            <a:endParaRPr lang="zh-CN" altLang="en-US" sz="2400" b="1" dirty="0">
              <a:latin typeface="微软雅黑" panose="020B0503020204020204" pitchFamily="34" charset="-122"/>
              <a:ea typeface="微软雅黑" panose="020B0503020204020204" pitchFamily="34" charset="-122"/>
            </a:endParaRPr>
          </a:p>
        </p:txBody>
      </p:sp>
      <p:sp>
        <p:nvSpPr>
          <p:cNvPr id="14" name="箭头: 左弧形 13">
            <a:extLst>
              <a:ext uri="{FF2B5EF4-FFF2-40B4-BE49-F238E27FC236}">
                <a16:creationId xmlns:a16="http://schemas.microsoft.com/office/drawing/2014/main" id="{4EB67EB1-8AD0-50F0-ABFC-4AA6D938DF6B}"/>
              </a:ext>
            </a:extLst>
          </p:cNvPr>
          <p:cNvSpPr/>
          <p:nvPr/>
        </p:nvSpPr>
        <p:spPr>
          <a:xfrm>
            <a:off x="809625" y="2571750"/>
            <a:ext cx="1285875" cy="2524125"/>
          </a:xfrm>
          <a:prstGeom prst="curvedRightArrow">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pic>
        <p:nvPicPr>
          <p:cNvPr id="5" name="图片 4">
            <a:extLst>
              <a:ext uri="{FF2B5EF4-FFF2-40B4-BE49-F238E27FC236}">
                <a16:creationId xmlns:a16="http://schemas.microsoft.com/office/drawing/2014/main" id="{DA628758-BD9B-3AC8-5302-264C0BF7DEFC}"/>
              </a:ext>
            </a:extLst>
          </p:cNvPr>
          <p:cNvPicPr>
            <a:picLocks noChangeAspect="1"/>
          </p:cNvPicPr>
          <p:nvPr/>
        </p:nvPicPr>
        <p:blipFill>
          <a:blip r:embed="rId5"/>
          <a:stretch>
            <a:fillRect/>
          </a:stretch>
        </p:blipFill>
        <p:spPr>
          <a:xfrm>
            <a:off x="2688690" y="3632202"/>
            <a:ext cx="7599054" cy="3124200"/>
          </a:xfrm>
          <a:prstGeom prst="rect">
            <a:avLst/>
          </a:prstGeom>
        </p:spPr>
      </p:pic>
      <p:sp>
        <p:nvSpPr>
          <p:cNvPr id="7" name="灯片编号占位符 6">
            <a:extLst>
              <a:ext uri="{FF2B5EF4-FFF2-40B4-BE49-F238E27FC236}">
                <a16:creationId xmlns:a16="http://schemas.microsoft.com/office/drawing/2014/main" id="{30866CB0-FF4B-2AA5-C459-924E3B570DBB}"/>
              </a:ext>
            </a:extLst>
          </p:cNvPr>
          <p:cNvSpPr>
            <a:spLocks noGrp="1"/>
          </p:cNvSpPr>
          <p:nvPr>
            <p:ph type="sldNum" sz="quarter" idx="12"/>
          </p:nvPr>
        </p:nvSpPr>
        <p:spPr/>
        <p:txBody>
          <a:bodyPr/>
          <a:lstStyle/>
          <a:p>
            <a:fld id="{6B54B0F7-55DD-40D6-B7F4-70B586885C0B}" type="slidenum">
              <a:rPr lang="en-US" smtClean="0"/>
              <a:pPr/>
              <a:t>30</a:t>
            </a:fld>
            <a:r>
              <a:rPr lang="en-US"/>
              <a:t>/37</a:t>
            </a:r>
            <a:endParaRPr lang="en-US" noProof="0" dirty="0"/>
          </a:p>
        </p:txBody>
      </p:sp>
    </p:spTree>
    <p:custDataLst>
      <p:tags r:id="rId1"/>
    </p:custDataLst>
    <p:extLst>
      <p:ext uri="{BB962C8B-B14F-4D97-AF65-F5344CB8AC3E}">
        <p14:creationId xmlns:p14="http://schemas.microsoft.com/office/powerpoint/2010/main" val="390813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O</a:t>
            </a:r>
            <a:r>
              <a:rPr lang="en-US" altLang="zh-CN" sz="4000" b="1" err="1">
                <a:latin typeface="微软雅黑" panose="020B0503020204020204" pitchFamily="34" charset="-122"/>
                <a:ea typeface="微软雅黑" panose="020B0503020204020204" pitchFamily="34" charset="-122"/>
              </a:rPr>
              <a:t>utput</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4DAAEF1-9AFF-C425-C422-42AD03FB1F3D}"/>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Output — DM Report</a:t>
            </a:r>
            <a:endParaRPr lang="zh-CN" altLang="en-US" sz="2400" b="1" dirty="0">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EBC90D76-ACC6-D613-33AC-23AF1CF297A0}"/>
              </a:ext>
            </a:extLst>
          </p:cNvPr>
          <p:cNvSpPr txBox="1"/>
          <p:nvPr/>
        </p:nvSpPr>
        <p:spPr>
          <a:xfrm>
            <a:off x="662178" y="1420181"/>
            <a:ext cx="6096000" cy="86728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Review status summary  </a:t>
            </a:r>
          </a:p>
          <a:p>
            <a:pPr marL="285750" indent="-285750">
              <a:lnSpc>
                <a:spcPct val="150000"/>
              </a:lnSpc>
              <a:buFont typeface="Arial" panose="020B0604020202020204" pitchFamily="34" charset="0"/>
              <a:buChar char="•"/>
            </a:pPr>
            <a:r>
              <a:rPr lang="en-US" dirty="0"/>
              <a:t>Completeness status</a:t>
            </a:r>
          </a:p>
        </p:txBody>
      </p:sp>
      <p:pic>
        <p:nvPicPr>
          <p:cNvPr id="7" name="图片 6">
            <a:extLst>
              <a:ext uri="{FF2B5EF4-FFF2-40B4-BE49-F238E27FC236}">
                <a16:creationId xmlns:a16="http://schemas.microsoft.com/office/drawing/2014/main" id="{05149360-79B9-E24C-A6E2-7866A6022E77}"/>
              </a:ext>
            </a:extLst>
          </p:cNvPr>
          <p:cNvPicPr>
            <a:picLocks noChangeAspect="1"/>
          </p:cNvPicPr>
          <p:nvPr/>
        </p:nvPicPr>
        <p:blipFill>
          <a:blip r:embed="rId4"/>
          <a:stretch>
            <a:fillRect/>
          </a:stretch>
        </p:blipFill>
        <p:spPr>
          <a:xfrm>
            <a:off x="2371996" y="2420198"/>
            <a:ext cx="7099665" cy="3283007"/>
          </a:xfrm>
          <a:prstGeom prst="rect">
            <a:avLst/>
          </a:prstGeom>
        </p:spPr>
      </p:pic>
      <p:sp>
        <p:nvSpPr>
          <p:cNvPr id="4" name="日期占位符 3">
            <a:extLst>
              <a:ext uri="{FF2B5EF4-FFF2-40B4-BE49-F238E27FC236}">
                <a16:creationId xmlns:a16="http://schemas.microsoft.com/office/drawing/2014/main" id="{FF619344-EB0A-7549-DC18-7DD9DD534D80}"/>
              </a:ext>
            </a:extLst>
          </p:cNvPr>
          <p:cNvSpPr>
            <a:spLocks noGrp="1"/>
          </p:cNvSpPr>
          <p:nvPr>
            <p:ph type="dt" sz="half" idx="11"/>
          </p:nvPr>
        </p:nvSpPr>
        <p:spPr/>
        <p:txBody>
          <a:bodyPr/>
          <a:lstStyle/>
          <a:p>
            <a:r>
              <a:rPr lang="en-US" altLang="zh-CN" noProof="0"/>
              <a:t>28 . Mar . 2025</a:t>
            </a:r>
            <a:endParaRPr lang="en-US" noProof="0" dirty="0"/>
          </a:p>
        </p:txBody>
      </p:sp>
      <p:sp>
        <p:nvSpPr>
          <p:cNvPr id="8" name="灯片编号占位符 7">
            <a:extLst>
              <a:ext uri="{FF2B5EF4-FFF2-40B4-BE49-F238E27FC236}">
                <a16:creationId xmlns:a16="http://schemas.microsoft.com/office/drawing/2014/main" id="{EE62CD7A-3BA3-106E-2E7D-2D16F2E02D8B}"/>
              </a:ext>
            </a:extLst>
          </p:cNvPr>
          <p:cNvSpPr>
            <a:spLocks noGrp="1"/>
          </p:cNvSpPr>
          <p:nvPr>
            <p:ph type="sldNum" sz="quarter" idx="12"/>
          </p:nvPr>
        </p:nvSpPr>
        <p:spPr/>
        <p:txBody>
          <a:bodyPr/>
          <a:lstStyle/>
          <a:p>
            <a:fld id="{6B54B0F7-55DD-40D6-B7F4-70B586885C0B}" type="slidenum">
              <a:rPr lang="en-US" smtClean="0"/>
              <a:pPr/>
              <a:t>31</a:t>
            </a:fld>
            <a:r>
              <a:rPr lang="en-US"/>
              <a:t>/37</a:t>
            </a:r>
            <a:endParaRPr lang="en-US" noProof="0" dirty="0"/>
          </a:p>
        </p:txBody>
      </p:sp>
    </p:spTree>
    <p:custDataLst>
      <p:tags r:id="rId1"/>
    </p:custDataLst>
    <p:extLst>
      <p:ext uri="{BB962C8B-B14F-4D97-AF65-F5344CB8AC3E}">
        <p14:creationId xmlns:p14="http://schemas.microsoft.com/office/powerpoint/2010/main" val="424507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O</a:t>
            </a:r>
            <a:r>
              <a:rPr lang="en-US" altLang="zh-CN" sz="4000" b="1" err="1">
                <a:latin typeface="微软雅黑" panose="020B0503020204020204" pitchFamily="34" charset="-122"/>
                <a:ea typeface="微软雅黑" panose="020B0503020204020204" pitchFamily="34" charset="-122"/>
              </a:rPr>
              <a:t>utput</a:t>
            </a:r>
            <a:endParaRPr lang="en-US" altLang="zh-CN" sz="320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4DAAEF1-9AFF-C425-C422-42AD03FB1F3D}"/>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Output — DM Report</a:t>
            </a:r>
            <a:endParaRPr lang="zh-CN" altLang="en-US" sz="2400" b="1" dirty="0">
              <a:latin typeface="微软雅黑" panose="020B0503020204020204" pitchFamily="34" charset="-122"/>
              <a:ea typeface="微软雅黑" panose="020B0503020204020204" pitchFamily="34" charset="-122"/>
            </a:endParaRPr>
          </a:p>
        </p:txBody>
      </p:sp>
      <p:pic>
        <p:nvPicPr>
          <p:cNvPr id="8" name="图片 7">
            <a:extLst>
              <a:ext uri="{FF2B5EF4-FFF2-40B4-BE49-F238E27FC236}">
                <a16:creationId xmlns:a16="http://schemas.microsoft.com/office/drawing/2014/main" id="{67480FA6-71F6-04A1-FD24-2165784D8881}"/>
              </a:ext>
            </a:extLst>
          </p:cNvPr>
          <p:cNvPicPr>
            <a:picLocks noChangeAspect="1"/>
          </p:cNvPicPr>
          <p:nvPr/>
        </p:nvPicPr>
        <p:blipFill>
          <a:blip r:embed="rId4"/>
          <a:stretch>
            <a:fillRect/>
          </a:stretch>
        </p:blipFill>
        <p:spPr>
          <a:xfrm>
            <a:off x="288626" y="1514353"/>
            <a:ext cx="11614747" cy="4724643"/>
          </a:xfrm>
          <a:prstGeom prst="rect">
            <a:avLst/>
          </a:prstGeom>
        </p:spPr>
      </p:pic>
      <p:sp>
        <p:nvSpPr>
          <p:cNvPr id="4" name="日期占位符 3">
            <a:extLst>
              <a:ext uri="{FF2B5EF4-FFF2-40B4-BE49-F238E27FC236}">
                <a16:creationId xmlns:a16="http://schemas.microsoft.com/office/drawing/2014/main" id="{C9030538-DDC2-A893-A750-F1F0795AEA31}"/>
              </a:ext>
            </a:extLst>
          </p:cNvPr>
          <p:cNvSpPr>
            <a:spLocks noGrp="1"/>
          </p:cNvSpPr>
          <p:nvPr>
            <p:ph type="dt" sz="half" idx="11"/>
          </p:nvPr>
        </p:nvSpPr>
        <p:spPr>
          <a:xfrm>
            <a:off x="4724399" y="6338887"/>
            <a:ext cx="2743200" cy="366183"/>
          </a:xfrm>
        </p:spPr>
        <p:txBody>
          <a:bodyPr/>
          <a:lstStyle/>
          <a:p>
            <a:r>
              <a:rPr lang="en-US" altLang="zh-CN" noProof="0" dirty="0"/>
              <a:t>28 . Mar . 2025</a:t>
            </a:r>
            <a:endParaRPr lang="en-US" noProof="0" dirty="0"/>
          </a:p>
        </p:txBody>
      </p:sp>
      <p:sp>
        <p:nvSpPr>
          <p:cNvPr id="6" name="灯片编号占位符 5">
            <a:extLst>
              <a:ext uri="{FF2B5EF4-FFF2-40B4-BE49-F238E27FC236}">
                <a16:creationId xmlns:a16="http://schemas.microsoft.com/office/drawing/2014/main" id="{10617969-907F-9E57-5B7B-C1554E61DFB7}"/>
              </a:ext>
            </a:extLst>
          </p:cNvPr>
          <p:cNvSpPr>
            <a:spLocks noGrp="1"/>
          </p:cNvSpPr>
          <p:nvPr>
            <p:ph type="sldNum" sz="quarter" idx="12"/>
          </p:nvPr>
        </p:nvSpPr>
        <p:spPr/>
        <p:txBody>
          <a:bodyPr/>
          <a:lstStyle/>
          <a:p>
            <a:fld id="{6B54B0F7-55DD-40D6-B7F4-70B586885C0B}" type="slidenum">
              <a:rPr lang="en-US" smtClean="0"/>
              <a:pPr/>
              <a:t>32</a:t>
            </a:fld>
            <a:r>
              <a:rPr lang="en-US"/>
              <a:t>/37</a:t>
            </a:r>
            <a:endParaRPr lang="en-US" noProof="0" dirty="0"/>
          </a:p>
        </p:txBody>
      </p:sp>
    </p:spTree>
    <p:custDataLst>
      <p:tags r:id="rId1"/>
    </p:custDataLst>
    <p:extLst>
      <p:ext uri="{BB962C8B-B14F-4D97-AF65-F5344CB8AC3E}">
        <p14:creationId xmlns:p14="http://schemas.microsoft.com/office/powerpoint/2010/main" val="385301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a:latin typeface="微软雅黑" panose="020B0503020204020204" pitchFamily="34" charset="-122"/>
                <a:ea typeface="微软雅黑" panose="020B0503020204020204" pitchFamily="34" charset="-122"/>
              </a:rPr>
              <a:t>easeP21: </a:t>
            </a:r>
            <a:r>
              <a:rPr lang="fr-FR" altLang="zh-CN" sz="4000" b="1">
                <a:latin typeface="微软雅黑" panose="020B0503020204020204" pitchFamily="34" charset="-122"/>
                <a:ea typeface="微软雅黑" panose="020B0503020204020204" pitchFamily="34" charset="-122"/>
              </a:rPr>
              <a:t>O</a:t>
            </a:r>
            <a:r>
              <a:rPr lang="en-US" altLang="zh-CN" sz="4000" b="1" err="1">
                <a:latin typeface="微软雅黑" panose="020B0503020204020204" pitchFamily="34" charset="-122"/>
                <a:ea typeface="微软雅黑" panose="020B0503020204020204" pitchFamily="34" charset="-122"/>
              </a:rPr>
              <a:t>utput</a:t>
            </a:r>
            <a:endParaRPr lang="en-US" altLang="zh-CN" sz="3200">
              <a:latin typeface="微软雅黑" panose="020B0503020204020204" pitchFamily="34" charset="-122"/>
              <a:ea typeface="微软雅黑" panose="020B0503020204020204" pitchFamily="34" charset="-122"/>
            </a:endParaRPr>
          </a:p>
        </p:txBody>
      </p:sp>
      <p:sp>
        <p:nvSpPr>
          <p:cNvPr id="4" name="文本框 1">
            <a:extLst>
              <a:ext uri="{FF2B5EF4-FFF2-40B4-BE49-F238E27FC236}">
                <a16:creationId xmlns:a16="http://schemas.microsoft.com/office/drawing/2014/main" id="{0D8A6311-CAF0-181D-A95C-2585268FFBD0}"/>
              </a:ext>
            </a:extLst>
          </p:cNvPr>
          <p:cNvSpPr txBox="1"/>
          <p:nvPr/>
        </p:nvSpPr>
        <p:spPr>
          <a:xfrm>
            <a:off x="566928" y="952797"/>
            <a:ext cx="6967728" cy="461665"/>
          </a:xfrm>
          <a:prstGeom prst="rect">
            <a:avLst/>
          </a:prstGeom>
          <a:noFill/>
        </p:spPr>
        <p:txBody>
          <a:bodyPr wrap="square" rtlCol="0">
            <a:spAutoFit/>
          </a:bodyPr>
          <a:lstStyle/>
          <a:p>
            <a:r>
              <a:rPr lang="en-US" altLang="zh-CN" sz="2400" b="1" dirty="0">
                <a:latin typeface="微软雅黑" panose="020B0503020204020204" pitchFamily="34" charset="-122"/>
                <a:ea typeface="微软雅黑" panose="020B0503020204020204" pitchFamily="34" charset="-122"/>
              </a:rPr>
              <a:t>Output — Link data</a:t>
            </a:r>
            <a:endParaRPr lang="zh-CN" altLang="en-US" sz="2400" b="1" dirty="0">
              <a:latin typeface="微软雅黑" panose="020B0503020204020204" pitchFamily="34" charset="-122"/>
              <a:ea typeface="微软雅黑" panose="020B0503020204020204" pitchFamily="34" charset="-122"/>
            </a:endParaRPr>
          </a:p>
        </p:txBody>
      </p:sp>
      <p:pic>
        <p:nvPicPr>
          <p:cNvPr id="7" name="Picture 6" descr="A screenshot of a computer&#10;&#10;AI-generated content may be incorrect.">
            <a:extLst>
              <a:ext uri="{FF2B5EF4-FFF2-40B4-BE49-F238E27FC236}">
                <a16:creationId xmlns:a16="http://schemas.microsoft.com/office/drawing/2014/main" id="{7E15722B-671E-14FD-7D89-15FF9CE9F6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9247" y="1671507"/>
            <a:ext cx="11373505" cy="4233696"/>
          </a:xfrm>
          <a:prstGeom prst="rect">
            <a:avLst/>
          </a:prstGeom>
        </p:spPr>
      </p:pic>
      <p:sp>
        <p:nvSpPr>
          <p:cNvPr id="3" name="日期占位符 2">
            <a:extLst>
              <a:ext uri="{FF2B5EF4-FFF2-40B4-BE49-F238E27FC236}">
                <a16:creationId xmlns:a16="http://schemas.microsoft.com/office/drawing/2014/main" id="{6B089973-CC70-3DFC-2208-68EB72158B5C}"/>
              </a:ext>
            </a:extLst>
          </p:cNvPr>
          <p:cNvSpPr>
            <a:spLocks noGrp="1"/>
          </p:cNvSpPr>
          <p:nvPr>
            <p:ph type="dt" sz="half" idx="11"/>
          </p:nvPr>
        </p:nvSpPr>
        <p:spPr/>
        <p:txBody>
          <a:bodyPr/>
          <a:lstStyle/>
          <a:p>
            <a:r>
              <a:rPr lang="en-US" altLang="zh-CN" noProof="0"/>
              <a:t>28 . Mar . 2025</a:t>
            </a:r>
            <a:endParaRPr lang="en-US" noProof="0" dirty="0"/>
          </a:p>
        </p:txBody>
      </p:sp>
      <p:sp>
        <p:nvSpPr>
          <p:cNvPr id="6" name="灯片编号占位符 5">
            <a:extLst>
              <a:ext uri="{FF2B5EF4-FFF2-40B4-BE49-F238E27FC236}">
                <a16:creationId xmlns:a16="http://schemas.microsoft.com/office/drawing/2014/main" id="{17E580CE-2D17-40B2-6361-4725351A1887}"/>
              </a:ext>
            </a:extLst>
          </p:cNvPr>
          <p:cNvSpPr>
            <a:spLocks noGrp="1"/>
          </p:cNvSpPr>
          <p:nvPr>
            <p:ph type="sldNum" sz="quarter" idx="12"/>
          </p:nvPr>
        </p:nvSpPr>
        <p:spPr/>
        <p:txBody>
          <a:bodyPr/>
          <a:lstStyle/>
          <a:p>
            <a:fld id="{6B54B0F7-55DD-40D6-B7F4-70B586885C0B}" type="slidenum">
              <a:rPr lang="en-US" smtClean="0"/>
              <a:pPr/>
              <a:t>33</a:t>
            </a:fld>
            <a:r>
              <a:rPr lang="en-US"/>
              <a:t>/37</a:t>
            </a:r>
            <a:endParaRPr lang="en-US" noProof="0" dirty="0"/>
          </a:p>
        </p:txBody>
      </p:sp>
    </p:spTree>
    <p:custDataLst>
      <p:tags r:id="rId1"/>
    </p:custDataLst>
    <p:extLst>
      <p:ext uri="{BB962C8B-B14F-4D97-AF65-F5344CB8AC3E}">
        <p14:creationId xmlns:p14="http://schemas.microsoft.com/office/powerpoint/2010/main" val="203778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dirty="0">
                <a:latin typeface="微软雅黑" panose="020B0503020204020204" pitchFamily="34" charset="-122"/>
                <a:ea typeface="微软雅黑" panose="020B0503020204020204" pitchFamily="34" charset="-122"/>
              </a:rPr>
              <a:t>easeP21: </a:t>
            </a:r>
            <a:r>
              <a:rPr lang="fr-FR" altLang="zh-CN" sz="4000" b="1" dirty="0">
                <a:latin typeface="微软雅黑" panose="020B0503020204020204" pitchFamily="34" charset="-122"/>
                <a:ea typeface="微软雅黑" panose="020B0503020204020204" pitchFamily="34" charset="-122"/>
              </a:rPr>
              <a:t>Challenge</a:t>
            </a:r>
            <a:endParaRPr lang="en-US" altLang="zh-CN" sz="3200" dirty="0">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D73B230C-1EC0-DB92-63AE-5824227C67CC}"/>
              </a:ext>
            </a:extLst>
          </p:cNvPr>
          <p:cNvSpPr txBox="1"/>
          <p:nvPr/>
        </p:nvSpPr>
        <p:spPr>
          <a:xfrm>
            <a:off x="405003" y="1134067"/>
            <a:ext cx="6967728" cy="461665"/>
          </a:xfrm>
          <a:prstGeom prst="rect">
            <a:avLst/>
          </a:prstGeom>
          <a:noFill/>
        </p:spPr>
        <p:txBody>
          <a:bodyPr wrap="square" rtlCol="0">
            <a:spAutoFit/>
          </a:bodyPr>
          <a:lstStyle/>
          <a:p>
            <a:r>
              <a:rPr lang="en-US" altLang="zh-CN" sz="2400" b="1">
                <a:latin typeface="微软雅黑" panose="020B0503020204020204" pitchFamily="34" charset="-122"/>
                <a:ea typeface="微软雅黑" panose="020B0503020204020204" pitchFamily="34" charset="-122"/>
              </a:rPr>
              <a:t>Reduce runtime for large data</a:t>
            </a:r>
            <a:endParaRPr lang="zh-CN" altLang="en-US" sz="2400" b="1">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F11557E1-DBAC-012C-1ECC-CB10B6272ABD}"/>
              </a:ext>
            </a:extLst>
          </p:cNvPr>
          <p:cNvSpPr txBox="1"/>
          <p:nvPr/>
        </p:nvSpPr>
        <p:spPr>
          <a:xfrm>
            <a:off x="716851" y="2033455"/>
            <a:ext cx="10758298" cy="2529282"/>
          </a:xfrm>
          <a:prstGeom prst="rect">
            <a:avLst/>
          </a:prstGeom>
          <a:noFill/>
        </p:spPr>
        <p:txBody>
          <a:bodyPr wrap="square" lIns="91440" tIns="45720" rIns="91440" bIns="45720" anchor="t">
            <a:spAutoFit/>
          </a:bodyPr>
          <a:lstStyle/>
          <a:p>
            <a:pPr marL="285750" indent="-285750">
              <a:lnSpc>
                <a:spcPct val="150000"/>
              </a:lnSpc>
              <a:buFont typeface="Arial" panose="020B0604020202020204" pitchFamily="34" charset="0"/>
              <a:buChar char="•"/>
            </a:pPr>
            <a:r>
              <a:rPr lang="en-US" dirty="0"/>
              <a:t>Background R process and automatically check by </a:t>
            </a:r>
            <a:r>
              <a:rPr lang="en-US" dirty="0" err="1">
                <a:solidFill>
                  <a:schemeClr val="accent2"/>
                </a:solidFill>
              </a:rPr>
              <a:t>callr</a:t>
            </a:r>
            <a:r>
              <a:rPr lang="en-US" dirty="0">
                <a:solidFill>
                  <a:schemeClr val="accent2"/>
                </a:solidFill>
              </a:rPr>
              <a:t>::</a:t>
            </a:r>
            <a:r>
              <a:rPr lang="en-US" dirty="0" err="1">
                <a:solidFill>
                  <a:schemeClr val="accent2"/>
                </a:solidFill>
              </a:rPr>
              <a:t>r_bg</a:t>
            </a:r>
            <a:r>
              <a:rPr lang="en-US" dirty="0">
                <a:solidFill>
                  <a:schemeClr val="accent2"/>
                </a:solidFill>
              </a:rPr>
              <a:t>() </a:t>
            </a:r>
            <a:r>
              <a:rPr lang="en-US" dirty="0"/>
              <a:t>and </a:t>
            </a:r>
            <a:r>
              <a:rPr lang="en-US" dirty="0">
                <a:solidFill>
                  <a:schemeClr val="accent2"/>
                </a:solidFill>
              </a:rPr>
              <a:t>later::later()</a:t>
            </a:r>
          </a:p>
          <a:p>
            <a:pPr lvl="1">
              <a:lnSpc>
                <a:spcPct val="150000"/>
              </a:lnSpc>
            </a:pPr>
            <a:r>
              <a:rPr lang="en-US" dirty="0"/>
              <a:t>Users can proceed immediately without waiting for this long task to finish</a:t>
            </a:r>
            <a:r>
              <a:rPr lang="en-US" dirty="0">
                <a:solidFill>
                  <a:srgbClr val="000000"/>
                </a:solidFill>
              </a:rPr>
              <a:t> </a:t>
            </a:r>
            <a:r>
              <a:rPr lang="en-US" b="1" dirty="0">
                <a:solidFill>
                  <a:srgbClr val="C00000"/>
                </a:solidFill>
              </a:rPr>
              <a:t> </a:t>
            </a:r>
            <a:r>
              <a:rPr lang="en-US" b="1" dirty="0">
                <a:solidFill>
                  <a:srgbClr val="00B050"/>
                </a:solidFill>
              </a:rPr>
              <a:t>√</a:t>
            </a:r>
            <a:endParaRPr lang="en-US" b="1" dirty="0">
              <a:solidFill>
                <a:srgbClr val="00B050"/>
              </a:solidFill>
              <a:ea typeface="Verdana"/>
            </a:endParaRPr>
          </a:p>
          <a:p>
            <a:pPr lvl="1">
              <a:lnSpc>
                <a:spcPct val="150000"/>
              </a:lnSpc>
            </a:pPr>
            <a:endParaRPr lang="en-US" dirty="0"/>
          </a:p>
          <a:p>
            <a:pPr marL="285750" indent="-285750">
              <a:lnSpc>
                <a:spcPct val="150000"/>
              </a:lnSpc>
              <a:buFont typeface="Arial" panose="020B0604020202020204" pitchFamily="34" charset="0"/>
              <a:buChar char="•"/>
            </a:pPr>
            <a:r>
              <a:rPr lang="en-US" dirty="0"/>
              <a:t>Parallel processing package </a:t>
            </a:r>
            <a:r>
              <a:rPr lang="en-US" dirty="0">
                <a:solidFill>
                  <a:schemeClr val="accent2"/>
                </a:solidFill>
              </a:rPr>
              <a:t>future</a:t>
            </a:r>
            <a:r>
              <a:rPr lang="en-US" dirty="0"/>
              <a:t> and </a:t>
            </a:r>
            <a:r>
              <a:rPr lang="en-US" dirty="0" err="1">
                <a:solidFill>
                  <a:schemeClr val="accent2"/>
                </a:solidFill>
              </a:rPr>
              <a:t>furrr</a:t>
            </a:r>
            <a:r>
              <a:rPr lang="en-US" dirty="0">
                <a:solidFill>
                  <a:schemeClr val="accent2"/>
                </a:solidFill>
              </a:rPr>
              <a:t> </a:t>
            </a:r>
            <a:r>
              <a:rPr lang="en-US" b="1" dirty="0">
                <a:solidFill>
                  <a:srgbClr val="C00000"/>
                </a:solidFill>
              </a:rPr>
              <a:t> </a:t>
            </a:r>
            <a:r>
              <a:rPr lang="en-US" b="1" dirty="0">
                <a:solidFill>
                  <a:srgbClr val="00B050"/>
                </a:solidFill>
              </a:rPr>
              <a:t>√</a:t>
            </a:r>
            <a:endParaRPr lang="en-US" dirty="0">
              <a:solidFill>
                <a:srgbClr val="00B050"/>
              </a:solidFill>
            </a:endParaRPr>
          </a:p>
          <a:p>
            <a:pPr marL="285750" indent="-285750">
              <a:lnSpc>
                <a:spcPct val="150000"/>
              </a:lnSpc>
              <a:buFont typeface="Arial" panose="020B0604020202020204" pitchFamily="34" charset="0"/>
              <a:buChar char="•"/>
            </a:pPr>
            <a:endParaRPr lang="en-US" dirty="0">
              <a:solidFill>
                <a:schemeClr val="accent2"/>
              </a:solidFill>
            </a:endParaRPr>
          </a:p>
          <a:p>
            <a:pPr marL="285750" indent="-285750">
              <a:lnSpc>
                <a:spcPct val="150000"/>
              </a:lnSpc>
              <a:buFont typeface="Arial" panose="020B0604020202020204" pitchFamily="34" charset="0"/>
              <a:buChar char="•"/>
            </a:pPr>
            <a:r>
              <a:rPr lang="en-US" dirty="0"/>
              <a:t>High-performance package </a:t>
            </a:r>
            <a:r>
              <a:rPr lang="en-US" dirty="0" err="1">
                <a:solidFill>
                  <a:schemeClr val="accent2"/>
                </a:solidFill>
              </a:rPr>
              <a:t>data.table</a:t>
            </a:r>
            <a:r>
              <a:rPr lang="en-US" dirty="0">
                <a:solidFill>
                  <a:schemeClr val="accent2"/>
                </a:solidFill>
              </a:rPr>
              <a:t> </a:t>
            </a:r>
            <a:r>
              <a:rPr lang="en-US" dirty="0"/>
              <a:t>or </a:t>
            </a:r>
            <a:r>
              <a:rPr lang="en-US" dirty="0" err="1">
                <a:solidFill>
                  <a:schemeClr val="accent2"/>
                </a:solidFill>
              </a:rPr>
              <a:t>duckdb</a:t>
            </a:r>
            <a:endParaRPr lang="en-US" dirty="0">
              <a:solidFill>
                <a:schemeClr val="accent2"/>
              </a:solidFill>
            </a:endParaRPr>
          </a:p>
        </p:txBody>
      </p:sp>
      <p:sp>
        <p:nvSpPr>
          <p:cNvPr id="4" name="日期占位符 3">
            <a:extLst>
              <a:ext uri="{FF2B5EF4-FFF2-40B4-BE49-F238E27FC236}">
                <a16:creationId xmlns:a16="http://schemas.microsoft.com/office/drawing/2014/main" id="{6EBA55B6-A34C-50CF-6615-D33C06BFB401}"/>
              </a:ext>
            </a:extLst>
          </p:cNvPr>
          <p:cNvSpPr>
            <a:spLocks noGrp="1"/>
          </p:cNvSpPr>
          <p:nvPr>
            <p:ph type="dt" sz="half" idx="11"/>
          </p:nvPr>
        </p:nvSpPr>
        <p:spPr/>
        <p:txBody>
          <a:bodyPr/>
          <a:lstStyle/>
          <a:p>
            <a:r>
              <a:rPr lang="en-US" altLang="zh-CN" noProof="0"/>
              <a:t>28 . Mar . 2025</a:t>
            </a:r>
            <a:endParaRPr lang="en-US" noProof="0" dirty="0"/>
          </a:p>
        </p:txBody>
      </p:sp>
      <p:sp>
        <p:nvSpPr>
          <p:cNvPr id="7" name="灯片编号占位符 6">
            <a:extLst>
              <a:ext uri="{FF2B5EF4-FFF2-40B4-BE49-F238E27FC236}">
                <a16:creationId xmlns:a16="http://schemas.microsoft.com/office/drawing/2014/main" id="{0B739888-DD4C-2C84-B7E4-F44A76D522C7}"/>
              </a:ext>
            </a:extLst>
          </p:cNvPr>
          <p:cNvSpPr>
            <a:spLocks noGrp="1"/>
          </p:cNvSpPr>
          <p:nvPr>
            <p:ph type="sldNum" sz="quarter" idx="12"/>
          </p:nvPr>
        </p:nvSpPr>
        <p:spPr/>
        <p:txBody>
          <a:bodyPr/>
          <a:lstStyle/>
          <a:p>
            <a:fld id="{6B54B0F7-55DD-40D6-B7F4-70B586885C0B}" type="slidenum">
              <a:rPr lang="en-US" smtClean="0"/>
              <a:pPr/>
              <a:t>34</a:t>
            </a:fld>
            <a:r>
              <a:rPr lang="en-US"/>
              <a:t>/37</a:t>
            </a:r>
            <a:endParaRPr lang="en-US" noProof="0" dirty="0"/>
          </a:p>
        </p:txBody>
      </p:sp>
    </p:spTree>
    <p:custDataLst>
      <p:tags r:id="rId1"/>
    </p:custDataLst>
    <p:extLst>
      <p:ext uri="{BB962C8B-B14F-4D97-AF65-F5344CB8AC3E}">
        <p14:creationId xmlns:p14="http://schemas.microsoft.com/office/powerpoint/2010/main" val="114001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fr-FR" altLang="zh-CN" sz="4000" b="1" i="1" dirty="0">
                <a:latin typeface="微软雅黑" panose="020B0503020204020204" pitchFamily="34" charset="-122"/>
                <a:ea typeface="微软雅黑" panose="020B0503020204020204" pitchFamily="34" charset="-122"/>
              </a:rPr>
              <a:t>easeP21: </a:t>
            </a:r>
            <a:r>
              <a:rPr lang="fr-FR" altLang="zh-CN" sz="4000" b="1" dirty="0">
                <a:latin typeface="微软雅黑" panose="020B0503020204020204" pitchFamily="34" charset="-122"/>
                <a:ea typeface="微软雅黑" panose="020B0503020204020204" pitchFamily="34" charset="-122"/>
              </a:rPr>
              <a:t>A</a:t>
            </a:r>
            <a:r>
              <a:rPr lang="en-US" altLang="zh-CN" sz="4000" b="1" dirty="0" err="1">
                <a:latin typeface="微软雅黑" panose="020B0503020204020204" pitchFamily="34" charset="-122"/>
                <a:ea typeface="微软雅黑" panose="020B0503020204020204" pitchFamily="34" charset="-122"/>
              </a:rPr>
              <a:t>dvantages</a:t>
            </a:r>
            <a:endParaRPr lang="zh-CN" altLang="en-US" sz="4000" b="1" dirty="0">
              <a:latin typeface="微软雅黑" panose="020B0503020204020204" pitchFamily="34" charset="-122"/>
              <a:ea typeface="微软雅黑" panose="020B0503020204020204" pitchFamily="34" charset="-122"/>
            </a:endParaRPr>
          </a:p>
        </p:txBody>
      </p:sp>
      <p:sp>
        <p:nvSpPr>
          <p:cNvPr id="5" name="ZoneTexte 13">
            <a:extLst>
              <a:ext uri="{FF2B5EF4-FFF2-40B4-BE49-F238E27FC236}">
                <a16:creationId xmlns:a16="http://schemas.microsoft.com/office/drawing/2014/main" id="{34EF8C6F-1C75-D1A8-217B-6E17C3F40CC0}"/>
              </a:ext>
            </a:extLst>
          </p:cNvPr>
          <p:cNvSpPr txBox="1"/>
          <p:nvPr/>
        </p:nvSpPr>
        <p:spPr>
          <a:xfrm>
            <a:off x="5521507" y="2890875"/>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6B747B"/>
              </a:solidFill>
              <a:effectLst/>
              <a:uLnTx/>
              <a:uFillTx/>
              <a:latin typeface="Arial"/>
              <a:ea typeface="+mn-ea"/>
              <a:cs typeface="+mn-cs"/>
            </a:endParaRPr>
          </a:p>
        </p:txBody>
      </p:sp>
      <p:sp>
        <p:nvSpPr>
          <p:cNvPr id="8" name="Rectangle 7">
            <a:extLst>
              <a:ext uri="{FF2B5EF4-FFF2-40B4-BE49-F238E27FC236}">
                <a16:creationId xmlns:a16="http://schemas.microsoft.com/office/drawing/2014/main" id="{5DDD4AB4-0648-7FEE-6C0B-D62C8D61F103}"/>
              </a:ext>
            </a:extLst>
          </p:cNvPr>
          <p:cNvSpPr/>
          <p:nvPr/>
        </p:nvSpPr>
        <p:spPr>
          <a:xfrm>
            <a:off x="603431" y="1852133"/>
            <a:ext cx="5079901" cy="1155671"/>
          </a:xfrm>
          <a:prstGeom prst="roundRect">
            <a:avLst/>
          </a:prstGeom>
          <a:solidFill>
            <a:schemeClr val="accent2">
              <a:lumMod val="20000"/>
              <a:lumOff val="80000"/>
            </a:schemeClr>
          </a:solidFill>
          <a:ln>
            <a:solidFill>
              <a:schemeClr val="accent2">
                <a:lumMod val="20000"/>
                <a:lumOff val="80000"/>
              </a:schemeClr>
            </a:solidFill>
          </a:ln>
        </p:spPr>
        <p:style>
          <a:lnRef idx="0">
            <a:scrgbClr r="0" g="0" b="0"/>
          </a:lnRef>
          <a:fillRef idx="0">
            <a:scrgbClr r="0" g="0" b="0"/>
          </a:fillRef>
          <a:effectRef idx="0">
            <a:scrgbClr r="0" g="0" b="0"/>
          </a:effectRef>
          <a:fontRef idx="minor">
            <a:schemeClr val="lt1"/>
          </a:fontRef>
        </p:style>
        <p:txBody>
          <a:bodyPr rtlCol="0" anchor="ctr" anchorCtr="0"/>
          <a:lstStyle/>
          <a:p>
            <a:pPr marL="0" lvl="2" algn="ctr">
              <a:lnSpc>
                <a:spcPct val="150000"/>
              </a:lnSpc>
              <a:defRPr/>
            </a:pPr>
            <a:r>
              <a:rPr lang="en-US" dirty="0">
                <a:solidFill>
                  <a:schemeClr val="tx1"/>
                </a:solidFill>
              </a:rPr>
              <a:t>An easier way to understand the issues and to identify actions</a:t>
            </a:r>
          </a:p>
        </p:txBody>
      </p:sp>
      <p:sp>
        <p:nvSpPr>
          <p:cNvPr id="10" name="Rectangle 8">
            <a:extLst>
              <a:ext uri="{FF2B5EF4-FFF2-40B4-BE49-F238E27FC236}">
                <a16:creationId xmlns:a16="http://schemas.microsoft.com/office/drawing/2014/main" id="{EC375C8D-A855-DE24-C504-783A7DE3E14E}"/>
              </a:ext>
            </a:extLst>
          </p:cNvPr>
          <p:cNvSpPr/>
          <p:nvPr/>
        </p:nvSpPr>
        <p:spPr>
          <a:xfrm>
            <a:off x="6352567" y="1858733"/>
            <a:ext cx="5079901" cy="1142473"/>
          </a:xfrm>
          <a:prstGeom prst="roundRect">
            <a:avLst/>
          </a:prstGeom>
          <a:solidFill>
            <a:schemeClr val="accent2">
              <a:lumMod val="20000"/>
              <a:lumOff val="80000"/>
            </a:schemeClr>
          </a:solidFill>
          <a:ln>
            <a:solidFill>
              <a:schemeClr val="accent2">
                <a:lumMod val="20000"/>
                <a:lumOff val="80000"/>
              </a:schemeClr>
            </a:solidFill>
          </a:ln>
        </p:spPr>
        <p:style>
          <a:lnRef idx="1">
            <a:schemeClr val="accent5"/>
          </a:lnRef>
          <a:fillRef idx="3">
            <a:schemeClr val="accent5"/>
          </a:fillRef>
          <a:effectRef idx="2">
            <a:schemeClr val="accent5"/>
          </a:effectRef>
          <a:fontRef idx="minor">
            <a:schemeClr val="lt1"/>
          </a:fontRef>
        </p:style>
        <p:txBody>
          <a:bodyPr rtlCol="0" anchor="ctr" anchorCtr="0"/>
          <a:lstStyle/>
          <a:p>
            <a:pPr marL="0" lvl="2" algn="ctr">
              <a:lnSpc>
                <a:spcPct val="150000"/>
              </a:lnSpc>
              <a:spcAft>
                <a:spcPts val="1200"/>
              </a:spcAft>
              <a:defRPr/>
            </a:pPr>
            <a:r>
              <a:rPr lang="en-US" dirty="0">
                <a:solidFill>
                  <a:schemeClr val="tx1"/>
                </a:solidFill>
              </a:rPr>
              <a:t>Adequate sharing of issues between stakeholders</a:t>
            </a:r>
          </a:p>
        </p:txBody>
      </p:sp>
      <p:sp>
        <p:nvSpPr>
          <p:cNvPr id="11" name="Rectangle 9">
            <a:extLst>
              <a:ext uri="{FF2B5EF4-FFF2-40B4-BE49-F238E27FC236}">
                <a16:creationId xmlns:a16="http://schemas.microsoft.com/office/drawing/2014/main" id="{332D7015-9117-5CD1-E415-2C1F2F5315B5}"/>
              </a:ext>
            </a:extLst>
          </p:cNvPr>
          <p:cNvSpPr/>
          <p:nvPr/>
        </p:nvSpPr>
        <p:spPr>
          <a:xfrm>
            <a:off x="604983" y="3836748"/>
            <a:ext cx="4949815" cy="1155672"/>
          </a:xfrm>
          <a:prstGeom prst="roundRect">
            <a:avLst/>
          </a:prstGeom>
          <a:solidFill>
            <a:schemeClr val="accent2">
              <a:lumMod val="20000"/>
              <a:lumOff val="80000"/>
            </a:schemeClr>
          </a:solidFill>
          <a:ln>
            <a:solidFill>
              <a:schemeClr val="accent2">
                <a:lumMod val="20000"/>
                <a:lumOff val="80000"/>
              </a:schemeClr>
            </a:solidFill>
          </a:ln>
        </p:spPr>
        <p:style>
          <a:lnRef idx="0">
            <a:scrgbClr r="0" g="0" b="0"/>
          </a:lnRef>
          <a:fillRef idx="0">
            <a:scrgbClr r="0" g="0" b="0"/>
          </a:fillRef>
          <a:effectRef idx="0">
            <a:scrgbClr r="0" g="0" b="0"/>
          </a:effectRef>
          <a:fontRef idx="minor">
            <a:schemeClr val="lt1"/>
          </a:fontRef>
        </p:style>
        <p:txBody>
          <a:bodyPr rtlCol="0" anchor="ctr" anchorCtr="0"/>
          <a:lstStyle/>
          <a:p>
            <a:pPr marL="0" lvl="2" algn="ctr">
              <a:lnSpc>
                <a:spcPct val="150000"/>
              </a:lnSpc>
              <a:spcAft>
                <a:spcPts val="1200"/>
              </a:spcAft>
              <a:defRPr/>
            </a:pPr>
            <a:r>
              <a:rPr lang="en-US" dirty="0">
                <a:solidFill>
                  <a:schemeClr val="tx1"/>
                </a:solidFill>
              </a:rPr>
              <a:t>Help departments divide responsibilities and work together</a:t>
            </a:r>
          </a:p>
        </p:txBody>
      </p:sp>
      <p:sp>
        <p:nvSpPr>
          <p:cNvPr id="12" name="Rectangle 10">
            <a:extLst>
              <a:ext uri="{FF2B5EF4-FFF2-40B4-BE49-F238E27FC236}">
                <a16:creationId xmlns:a16="http://schemas.microsoft.com/office/drawing/2014/main" id="{8EA586A4-D4D8-37C1-76E8-5D0FBC46004A}"/>
              </a:ext>
            </a:extLst>
          </p:cNvPr>
          <p:cNvSpPr/>
          <p:nvPr/>
        </p:nvSpPr>
        <p:spPr>
          <a:xfrm>
            <a:off x="6417129" y="3836748"/>
            <a:ext cx="5079901" cy="1155672"/>
          </a:xfrm>
          <a:prstGeom prst="roundRect">
            <a:avLst/>
          </a:prstGeom>
          <a:solidFill>
            <a:schemeClr val="accent2">
              <a:lumMod val="20000"/>
              <a:lumOff val="80000"/>
            </a:schemeClr>
          </a:solidFill>
          <a:ln>
            <a:solidFill>
              <a:schemeClr val="accent2">
                <a:lumMod val="20000"/>
                <a:lumOff val="80000"/>
              </a:schemeClr>
            </a:solidFill>
          </a:ln>
        </p:spPr>
        <p:style>
          <a:lnRef idx="0">
            <a:scrgbClr r="0" g="0" b="0"/>
          </a:lnRef>
          <a:fillRef idx="0">
            <a:scrgbClr r="0" g="0" b="0"/>
          </a:fillRef>
          <a:effectRef idx="0">
            <a:scrgbClr r="0" g="0" b="0"/>
          </a:effectRef>
          <a:fontRef idx="minor">
            <a:schemeClr val="lt1"/>
          </a:fontRef>
        </p:style>
        <p:txBody>
          <a:bodyPr rtlCol="0" anchor="ctr" anchorCtr="0"/>
          <a:lstStyle/>
          <a:p>
            <a:pPr marL="0" lvl="2" algn="ctr">
              <a:lnSpc>
                <a:spcPct val="150000"/>
              </a:lnSpc>
              <a:spcAft>
                <a:spcPts val="1200"/>
              </a:spcAft>
              <a:defRPr/>
            </a:pPr>
            <a:r>
              <a:rPr lang="en-US" dirty="0">
                <a:solidFill>
                  <a:schemeClr val="tx1"/>
                </a:solidFill>
              </a:rPr>
              <a:t>A better reviewable template to facilitate traceability and inspection</a:t>
            </a:r>
          </a:p>
        </p:txBody>
      </p:sp>
      <p:grpSp>
        <p:nvGrpSpPr>
          <p:cNvPr id="18" name="Group 17">
            <a:extLst>
              <a:ext uri="{FF2B5EF4-FFF2-40B4-BE49-F238E27FC236}">
                <a16:creationId xmlns:a16="http://schemas.microsoft.com/office/drawing/2014/main" id="{811FC30E-839C-5EE5-5E31-987A080B04AB}"/>
              </a:ext>
            </a:extLst>
          </p:cNvPr>
          <p:cNvGrpSpPr/>
          <p:nvPr/>
        </p:nvGrpSpPr>
        <p:grpSpPr>
          <a:xfrm>
            <a:off x="4744994" y="2662180"/>
            <a:ext cx="2642323" cy="1459023"/>
            <a:chOff x="4759508" y="2647666"/>
            <a:chExt cx="2642323" cy="1459023"/>
          </a:xfrm>
        </p:grpSpPr>
        <p:sp>
          <p:nvSpPr>
            <p:cNvPr id="13" name="Organigramme : Connecteur 14">
              <a:extLst>
                <a:ext uri="{FF2B5EF4-FFF2-40B4-BE49-F238E27FC236}">
                  <a16:creationId xmlns:a16="http://schemas.microsoft.com/office/drawing/2014/main" id="{94975F72-6EF1-9714-6D0D-C7D7A791824F}"/>
                </a:ext>
              </a:extLst>
            </p:cNvPr>
            <p:cNvSpPr/>
            <p:nvPr/>
          </p:nvSpPr>
          <p:spPr>
            <a:xfrm>
              <a:off x="4759508" y="2647666"/>
              <a:ext cx="2642323" cy="1459023"/>
            </a:xfrm>
            <a:prstGeom prst="flowChartConnector">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sz="1400" b="1" dirty="0">
                <a:solidFill>
                  <a:srgbClr val="3B3838"/>
                </a:solidFill>
                <a:latin typeface="Arial" panose="020B0604020202020204"/>
              </a:endParaRPr>
            </a:p>
          </p:txBody>
        </p:sp>
        <p:sp>
          <p:nvSpPr>
            <p:cNvPr id="14" name="ZoneTexte 12">
              <a:extLst>
                <a:ext uri="{FF2B5EF4-FFF2-40B4-BE49-F238E27FC236}">
                  <a16:creationId xmlns:a16="http://schemas.microsoft.com/office/drawing/2014/main" id="{FA876235-40AA-5691-5B40-4EFE32A8B0BC}"/>
                </a:ext>
              </a:extLst>
            </p:cNvPr>
            <p:cNvSpPr txBox="1"/>
            <p:nvPr/>
          </p:nvSpPr>
          <p:spPr>
            <a:xfrm>
              <a:off x="4860982" y="3211665"/>
              <a:ext cx="2293506" cy="400110"/>
            </a:xfrm>
            <a:prstGeom prst="rect">
              <a:avLst/>
            </a:prstGeom>
            <a:noFill/>
          </p:spPr>
          <p:txBody>
            <a:bodyPr wrap="square" rtlCol="0">
              <a:spAutoFit/>
            </a:bodyPr>
            <a:lstStyle/>
            <a:p>
              <a:pPr algn="ctr" defTabSz="914377">
                <a:defRPr/>
              </a:pPr>
              <a:r>
                <a:rPr lang="fr-FR" sz="2000" b="1" dirty="0">
                  <a:solidFill>
                    <a:srgbClr val="7A00E6"/>
                  </a:solidFill>
                  <a:latin typeface="+mn-ea"/>
                </a:rPr>
                <a:t>U</a:t>
              </a:r>
              <a:r>
                <a:rPr lang="en-US" altLang="zh-CN" sz="2000" b="1" dirty="0">
                  <a:solidFill>
                    <a:srgbClr val="7A00E6"/>
                  </a:solidFill>
                  <a:latin typeface="+mn-ea"/>
                </a:rPr>
                <a:t>s</a:t>
              </a:r>
              <a:r>
                <a:rPr lang="fr-FR" sz="2000" b="1" dirty="0">
                  <a:solidFill>
                    <a:srgbClr val="7A00E6"/>
                  </a:solidFill>
                  <a:latin typeface="+mn-ea"/>
                </a:rPr>
                <a:t>ers</a:t>
              </a:r>
              <a:r>
                <a:rPr lang="en-US" sz="2000" b="1" dirty="0">
                  <a:solidFill>
                    <a:srgbClr val="7A00E6"/>
                  </a:solidFill>
                  <a:latin typeface="+mn-ea"/>
                </a:rPr>
                <a:t>’</a:t>
              </a:r>
              <a:r>
                <a:rPr lang="fr-FR" sz="2000" b="1" dirty="0">
                  <a:solidFill>
                    <a:srgbClr val="7A00E6"/>
                  </a:solidFill>
                  <a:latin typeface="+mn-ea"/>
                </a:rPr>
                <a:t> feedback</a:t>
              </a:r>
            </a:p>
          </p:txBody>
        </p:sp>
      </p:grpSp>
      <p:grpSp>
        <p:nvGrpSpPr>
          <p:cNvPr id="2" name="组合 1">
            <a:extLst>
              <a:ext uri="{FF2B5EF4-FFF2-40B4-BE49-F238E27FC236}">
                <a16:creationId xmlns:a16="http://schemas.microsoft.com/office/drawing/2014/main" id="{B5CC6DB7-7D56-553E-0C90-241B992D1027}"/>
              </a:ext>
            </a:extLst>
          </p:cNvPr>
          <p:cNvGrpSpPr/>
          <p:nvPr/>
        </p:nvGrpSpPr>
        <p:grpSpPr>
          <a:xfrm>
            <a:off x="2977127" y="5128307"/>
            <a:ext cx="7679599" cy="1457461"/>
            <a:chOff x="2772228" y="5248067"/>
            <a:chExt cx="7679599" cy="1457461"/>
          </a:xfrm>
        </p:grpSpPr>
        <p:sp>
          <p:nvSpPr>
            <p:cNvPr id="3" name="Rectangle 15">
              <a:extLst>
                <a:ext uri="{FF2B5EF4-FFF2-40B4-BE49-F238E27FC236}">
                  <a16:creationId xmlns:a16="http://schemas.microsoft.com/office/drawing/2014/main" id="{F59D084E-7B0D-8880-7D8B-863743756E96}"/>
                </a:ext>
              </a:extLst>
            </p:cNvPr>
            <p:cNvSpPr/>
            <p:nvPr/>
          </p:nvSpPr>
          <p:spPr>
            <a:xfrm>
              <a:off x="2772228" y="5345856"/>
              <a:ext cx="7679599" cy="1261884"/>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endParaRPr lang="en-US" sz="2400" dirty="0">
                <a:solidFill>
                  <a:srgbClr val="6B747B"/>
                </a:solidFill>
                <a:latin typeface="Arial"/>
              </a:endParaRPr>
            </a:p>
            <a:p>
              <a:pPr marL="914400" lvl="3">
                <a:spcAft>
                  <a:spcPts val="1200"/>
                </a:spcAft>
                <a:defRPr/>
              </a:pPr>
              <a:r>
                <a:rPr lang="en-US" sz="2400" b="1" dirty="0">
                  <a:solidFill>
                    <a:srgbClr val="C00000"/>
                  </a:solidFill>
                </a:rPr>
                <a:t>At least    50%    gain of time </a:t>
              </a:r>
            </a:p>
            <a:p>
              <a:pPr marL="1371600" lvl="4">
                <a:spcAft>
                  <a:spcPts val="1200"/>
                </a:spcAft>
                <a:defRPr/>
              </a:pPr>
              <a:endParaRPr kumimoji="0" lang="en-US" b="0" i="0" u="none" strike="noStrike" kern="1200" cap="none" spc="0" normalizeH="0" baseline="0" noProof="0" dirty="0">
                <a:ln>
                  <a:noFill/>
                </a:ln>
                <a:solidFill>
                  <a:srgbClr val="6B747B"/>
                </a:solidFill>
                <a:effectLst/>
                <a:uLnTx/>
                <a:uFillTx/>
                <a:latin typeface="Arial"/>
                <a:ea typeface="+mn-ea"/>
                <a:cs typeface="+mn-cs"/>
              </a:endParaRPr>
            </a:p>
          </p:txBody>
        </p:sp>
        <p:graphicFrame>
          <p:nvGraphicFramePr>
            <p:cNvPr id="15" name="Chart 5">
              <a:extLst>
                <a:ext uri="{FF2B5EF4-FFF2-40B4-BE49-F238E27FC236}">
                  <a16:creationId xmlns:a16="http://schemas.microsoft.com/office/drawing/2014/main" id="{9E2D0DC0-9497-7CA1-5182-502E447FCF19}"/>
                </a:ext>
              </a:extLst>
            </p:cNvPr>
            <p:cNvGraphicFramePr/>
            <p:nvPr>
              <p:extLst>
                <p:ext uri="{D42A27DB-BD31-4B8C-83A1-F6EECF244321}">
                  <p14:modId xmlns:p14="http://schemas.microsoft.com/office/powerpoint/2010/main" val="3105386101"/>
                </p:ext>
              </p:extLst>
            </p:nvPr>
          </p:nvGraphicFramePr>
          <p:xfrm>
            <a:off x="4838521" y="5248067"/>
            <a:ext cx="2023455" cy="1457461"/>
          </p:xfrm>
          <a:graphic>
            <a:graphicData uri="http://schemas.openxmlformats.org/drawingml/2006/chart">
              <c:chart xmlns:c="http://schemas.openxmlformats.org/drawingml/2006/chart" xmlns:r="http://schemas.openxmlformats.org/officeDocument/2006/relationships" r:id="rId4"/>
            </a:graphicData>
          </a:graphic>
        </p:graphicFrame>
      </p:grpSp>
      <p:sp>
        <p:nvSpPr>
          <p:cNvPr id="6" name="日期占位符 5">
            <a:extLst>
              <a:ext uri="{FF2B5EF4-FFF2-40B4-BE49-F238E27FC236}">
                <a16:creationId xmlns:a16="http://schemas.microsoft.com/office/drawing/2014/main" id="{6085CE06-E267-B448-9B5F-4A743875D102}"/>
              </a:ext>
            </a:extLst>
          </p:cNvPr>
          <p:cNvSpPr>
            <a:spLocks noGrp="1"/>
          </p:cNvSpPr>
          <p:nvPr>
            <p:ph type="dt" sz="half" idx="11"/>
          </p:nvPr>
        </p:nvSpPr>
        <p:spPr>
          <a:xfrm>
            <a:off x="4835393" y="6518559"/>
            <a:ext cx="2743200" cy="366183"/>
          </a:xfrm>
        </p:spPr>
        <p:txBody>
          <a:bodyPr/>
          <a:lstStyle/>
          <a:p>
            <a:r>
              <a:rPr lang="en-US" altLang="zh-CN" noProof="0" dirty="0"/>
              <a:t>28 . Mar . 2025</a:t>
            </a:r>
            <a:endParaRPr lang="en-US" noProof="0" dirty="0"/>
          </a:p>
        </p:txBody>
      </p:sp>
      <p:sp>
        <p:nvSpPr>
          <p:cNvPr id="16" name="灯片编号占位符 15">
            <a:extLst>
              <a:ext uri="{FF2B5EF4-FFF2-40B4-BE49-F238E27FC236}">
                <a16:creationId xmlns:a16="http://schemas.microsoft.com/office/drawing/2014/main" id="{D1EA8178-2CDA-CF0E-F20B-52D52B16D13A}"/>
              </a:ext>
            </a:extLst>
          </p:cNvPr>
          <p:cNvSpPr>
            <a:spLocks noGrp="1"/>
          </p:cNvSpPr>
          <p:nvPr>
            <p:ph type="sldNum" sz="quarter" idx="12"/>
          </p:nvPr>
        </p:nvSpPr>
        <p:spPr/>
        <p:txBody>
          <a:bodyPr/>
          <a:lstStyle/>
          <a:p>
            <a:fld id="{6B54B0F7-55DD-40D6-B7F4-70B586885C0B}" type="slidenum">
              <a:rPr lang="en-US" smtClean="0"/>
              <a:pPr/>
              <a:t>35</a:t>
            </a:fld>
            <a:r>
              <a:rPr lang="en-US"/>
              <a:t>/37</a:t>
            </a:r>
            <a:endParaRPr lang="en-US" noProof="0" dirty="0"/>
          </a:p>
        </p:txBody>
      </p:sp>
    </p:spTree>
    <p:custDataLst>
      <p:tags r:id="rId1"/>
    </p:custDataLst>
    <p:extLst>
      <p:ext uri="{BB962C8B-B14F-4D97-AF65-F5344CB8AC3E}">
        <p14:creationId xmlns:p14="http://schemas.microsoft.com/office/powerpoint/2010/main" val="163993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graphique SmartArt 1">
            <a:extLst>
              <a:ext uri="{FF2B5EF4-FFF2-40B4-BE49-F238E27FC236}">
                <a16:creationId xmlns:a16="http://schemas.microsoft.com/office/drawing/2014/main" id="{1F294D1C-16D2-4943-9E30-F68F81991935}"/>
              </a:ext>
            </a:extLst>
          </p:cNvPr>
          <p:cNvSpPr>
            <a:spLocks noGrp="1"/>
          </p:cNvSpPr>
          <p:nvPr>
            <p:ph type="dgm" sz="quarter" idx="13"/>
          </p:nvPr>
        </p:nvSpPr>
        <p:spPr/>
        <p:txBody>
          <a:bodyPr/>
          <a:lstStyle/>
          <a:p>
            <a:endParaRPr lang="zh-CN" altLang="en-US"/>
          </a:p>
        </p:txBody>
      </p:sp>
      <p:sp>
        <p:nvSpPr>
          <p:cNvPr id="4" name="Espace réservé du graphique SmartArt 3">
            <a:extLst>
              <a:ext uri="{FF2B5EF4-FFF2-40B4-BE49-F238E27FC236}">
                <a16:creationId xmlns:a16="http://schemas.microsoft.com/office/drawing/2014/main" id="{5F71479A-18DB-416B-A05B-38DC804C2BB7}"/>
              </a:ext>
            </a:extLst>
          </p:cNvPr>
          <p:cNvSpPr>
            <a:spLocks noGrp="1"/>
          </p:cNvSpPr>
          <p:nvPr>
            <p:ph type="dgm" sz="quarter" idx="14"/>
          </p:nvPr>
        </p:nvSpPr>
        <p:spPr/>
        <p:txBody>
          <a:bodyPr/>
          <a:lstStyle/>
          <a:p>
            <a:endParaRPr lang="zh-CN" altLang="en-US"/>
          </a:p>
        </p:txBody>
      </p:sp>
      <p:sp>
        <p:nvSpPr>
          <p:cNvPr id="10" name="Espace réservé du texte 9">
            <a:extLst>
              <a:ext uri="{FF2B5EF4-FFF2-40B4-BE49-F238E27FC236}">
                <a16:creationId xmlns:a16="http://schemas.microsoft.com/office/drawing/2014/main" id="{DE4AC86C-2729-44F8-8172-BB4BAA8DDF92}"/>
              </a:ext>
            </a:extLst>
          </p:cNvPr>
          <p:cNvSpPr>
            <a:spLocks noGrp="1"/>
          </p:cNvSpPr>
          <p:nvPr>
            <p:ph type="body" sz="quarter" idx="21"/>
          </p:nvPr>
        </p:nvSpPr>
        <p:spPr>
          <a:xfrm>
            <a:off x="1557648" y="2026669"/>
            <a:ext cx="9230445" cy="1485901"/>
          </a:xfrm>
        </p:spPr>
        <p:txBody>
          <a:bodyPr/>
          <a:lstStyle/>
          <a:p>
            <a:r>
              <a:rPr lang="en-US" altLang="zh-CN" dirty="0">
                <a:latin typeface="Copperplate Gothic Bold" panose="020E0705020206020404" pitchFamily="34" charset="0"/>
              </a:rPr>
              <a:t>Thanks</a:t>
            </a:r>
            <a:endParaRPr lang="fr-FR" dirty="0">
              <a:latin typeface="Copperplate Gothic Bold" panose="020E0705020206020404" pitchFamily="34" charset="0"/>
            </a:endParaRPr>
          </a:p>
        </p:txBody>
      </p:sp>
      <p:sp>
        <p:nvSpPr>
          <p:cNvPr id="3" name="文本框 2">
            <a:extLst>
              <a:ext uri="{FF2B5EF4-FFF2-40B4-BE49-F238E27FC236}">
                <a16:creationId xmlns:a16="http://schemas.microsoft.com/office/drawing/2014/main" id="{3E4042AC-93CD-14E3-1F43-672DDB647F4E}"/>
              </a:ext>
            </a:extLst>
          </p:cNvPr>
          <p:cNvSpPr txBox="1"/>
          <p:nvPr/>
        </p:nvSpPr>
        <p:spPr>
          <a:xfrm>
            <a:off x="1133475" y="3933072"/>
            <a:ext cx="10258425" cy="646331"/>
          </a:xfrm>
          <a:prstGeom prst="rect">
            <a:avLst/>
          </a:prstGeom>
          <a:noFill/>
        </p:spPr>
        <p:txBody>
          <a:bodyPr wrap="square" rtlCol="0">
            <a:spAutoFit/>
          </a:bodyPr>
          <a:lstStyle/>
          <a:p>
            <a:pPr algn="ctr"/>
            <a:r>
              <a:rPr lang="en-US" altLang="zh-CN" b="0" i="0" dirty="0">
                <a:effectLst/>
                <a:latin typeface="-apple-system"/>
              </a:rPr>
              <a:t>Thank you to the authors and organizers of Pharma Rug, and to all the authors of R open-source packages. Thanks to the Sanofi and CoE-SDR team members for their various forms of assistance.</a:t>
            </a:r>
            <a:endParaRPr lang="zh-CN" altLang="en-US" dirty="0"/>
          </a:p>
        </p:txBody>
      </p:sp>
      <p:sp>
        <p:nvSpPr>
          <p:cNvPr id="5" name="日期占位符 4">
            <a:extLst>
              <a:ext uri="{FF2B5EF4-FFF2-40B4-BE49-F238E27FC236}">
                <a16:creationId xmlns:a16="http://schemas.microsoft.com/office/drawing/2014/main" id="{6DC1781F-C820-B095-B40C-BA12BA720A45}"/>
              </a:ext>
            </a:extLst>
          </p:cNvPr>
          <p:cNvSpPr>
            <a:spLocks noGrp="1"/>
          </p:cNvSpPr>
          <p:nvPr>
            <p:ph type="dt" sz="half" idx="15"/>
          </p:nvPr>
        </p:nvSpPr>
        <p:spPr/>
        <p:txBody>
          <a:bodyPr/>
          <a:lstStyle/>
          <a:p>
            <a:r>
              <a:rPr lang="en-US" altLang="zh-CN" noProof="0"/>
              <a:t>28 . Mar . 2025</a:t>
            </a:r>
            <a:endParaRPr lang="en-US" noProof="0"/>
          </a:p>
        </p:txBody>
      </p:sp>
    </p:spTree>
    <p:extLst>
      <p:ext uri="{BB962C8B-B14F-4D97-AF65-F5344CB8AC3E}">
        <p14:creationId xmlns:p14="http://schemas.microsoft.com/office/powerpoint/2010/main" val="241196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graphique SmartArt 1">
            <a:extLst>
              <a:ext uri="{FF2B5EF4-FFF2-40B4-BE49-F238E27FC236}">
                <a16:creationId xmlns:a16="http://schemas.microsoft.com/office/drawing/2014/main" id="{1F294D1C-16D2-4943-9E30-F68F81991935}"/>
              </a:ext>
            </a:extLst>
          </p:cNvPr>
          <p:cNvSpPr>
            <a:spLocks noGrp="1"/>
          </p:cNvSpPr>
          <p:nvPr>
            <p:ph type="dgm" sz="quarter" idx="13"/>
          </p:nvPr>
        </p:nvSpPr>
        <p:spPr/>
        <p:txBody>
          <a:bodyPr/>
          <a:lstStyle/>
          <a:p>
            <a:endParaRPr lang="zh-CN" altLang="en-US"/>
          </a:p>
        </p:txBody>
      </p:sp>
      <p:sp>
        <p:nvSpPr>
          <p:cNvPr id="4" name="Espace réservé du graphique SmartArt 3">
            <a:extLst>
              <a:ext uri="{FF2B5EF4-FFF2-40B4-BE49-F238E27FC236}">
                <a16:creationId xmlns:a16="http://schemas.microsoft.com/office/drawing/2014/main" id="{5F71479A-18DB-416B-A05B-38DC804C2BB7}"/>
              </a:ext>
            </a:extLst>
          </p:cNvPr>
          <p:cNvSpPr>
            <a:spLocks noGrp="1"/>
          </p:cNvSpPr>
          <p:nvPr>
            <p:ph type="dgm" sz="quarter" idx="14"/>
          </p:nvPr>
        </p:nvSpPr>
        <p:spPr/>
        <p:txBody>
          <a:bodyPr/>
          <a:lstStyle/>
          <a:p>
            <a:endParaRPr lang="zh-CN" altLang="en-US"/>
          </a:p>
        </p:txBody>
      </p:sp>
      <p:sp>
        <p:nvSpPr>
          <p:cNvPr id="10" name="Espace réservé du texte 9">
            <a:extLst>
              <a:ext uri="{FF2B5EF4-FFF2-40B4-BE49-F238E27FC236}">
                <a16:creationId xmlns:a16="http://schemas.microsoft.com/office/drawing/2014/main" id="{DE4AC86C-2729-44F8-8172-BB4BAA8DDF92}"/>
              </a:ext>
            </a:extLst>
          </p:cNvPr>
          <p:cNvSpPr>
            <a:spLocks noGrp="1"/>
          </p:cNvSpPr>
          <p:nvPr>
            <p:ph type="body" sz="quarter" idx="21"/>
          </p:nvPr>
        </p:nvSpPr>
        <p:spPr>
          <a:xfrm>
            <a:off x="1680803" y="2707351"/>
            <a:ext cx="9230445" cy="1658148"/>
          </a:xfrm>
        </p:spPr>
        <p:txBody>
          <a:bodyPr/>
          <a:lstStyle/>
          <a:p>
            <a:r>
              <a:rPr lang="fr-FR" dirty="0">
                <a:latin typeface="Copperplate Gothic Bold" panose="020E0705020206020404" pitchFamily="34" charset="0"/>
              </a:rPr>
              <a:t>Background</a:t>
            </a:r>
          </a:p>
          <a:p>
            <a:endParaRPr lang="fr-FR" dirty="0">
              <a:latin typeface="Copperplate Gothic Bold" panose="020E0705020206020404" pitchFamily="34" charset="0"/>
            </a:endParaRPr>
          </a:p>
        </p:txBody>
      </p:sp>
      <p:sp>
        <p:nvSpPr>
          <p:cNvPr id="3" name="日期占位符 2">
            <a:extLst>
              <a:ext uri="{FF2B5EF4-FFF2-40B4-BE49-F238E27FC236}">
                <a16:creationId xmlns:a16="http://schemas.microsoft.com/office/drawing/2014/main" id="{92ABBF1E-8244-CE60-CEB0-663CC3CA9FA6}"/>
              </a:ext>
            </a:extLst>
          </p:cNvPr>
          <p:cNvSpPr>
            <a:spLocks noGrp="1"/>
          </p:cNvSpPr>
          <p:nvPr>
            <p:ph type="dt" sz="half" idx="15"/>
          </p:nvPr>
        </p:nvSpPr>
        <p:spPr/>
        <p:txBody>
          <a:bodyPr/>
          <a:lstStyle/>
          <a:p>
            <a:r>
              <a:rPr lang="en-US" altLang="zh-CN" noProof="0"/>
              <a:t>28 . Mar . 2025</a:t>
            </a:r>
            <a:endParaRPr lang="en-US" noProof="0"/>
          </a:p>
        </p:txBody>
      </p:sp>
    </p:spTree>
    <p:extLst>
      <p:ext uri="{BB962C8B-B14F-4D97-AF65-F5344CB8AC3E}">
        <p14:creationId xmlns:p14="http://schemas.microsoft.com/office/powerpoint/2010/main" val="183577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 name="文本框 2">
            <a:extLst>
              <a:ext uri="{FF2B5EF4-FFF2-40B4-BE49-F238E27FC236}">
                <a16:creationId xmlns:a16="http://schemas.microsoft.com/office/drawing/2014/main" id="{8B583C51-566D-A7E7-FB04-3E16C7843616}"/>
              </a:ext>
            </a:extLst>
          </p:cNvPr>
          <p:cNvSpPr txBox="1"/>
          <p:nvPr/>
        </p:nvSpPr>
        <p:spPr>
          <a:xfrm>
            <a:off x="769544" y="1531357"/>
            <a:ext cx="9995025"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ccelerate the Drug Administration Approval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25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Pinnacle 21 is the key to a rapid and efficient drug review process for the biopharmaceutical industry. It is the technology driving the FDA 21st Century Review Program, ensuring that submitted data is compliant, useful, and ready for review—leading to a more efficient review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Webs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hlinkClick r:id="rId4"/>
              </a:rPr>
              <a:t>Pinnacle 21</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日期占位符 3">
            <a:extLst>
              <a:ext uri="{FF2B5EF4-FFF2-40B4-BE49-F238E27FC236}">
                <a16:creationId xmlns:a16="http://schemas.microsoft.com/office/drawing/2014/main" id="{A50C7458-E7F0-3656-1580-8551E2993437}"/>
              </a:ext>
            </a:extLst>
          </p:cNvPr>
          <p:cNvSpPr>
            <a:spLocks noGrp="1"/>
          </p:cNvSpPr>
          <p:nvPr>
            <p:ph type="dt" sz="half" idx="11"/>
          </p:nvPr>
        </p:nvSpPr>
        <p:spPr/>
        <p:txBody>
          <a:bodyPr/>
          <a:lstStyle/>
          <a:p>
            <a:r>
              <a:rPr lang="en-US" altLang="zh-CN" noProof="0"/>
              <a:t>28 . Mar . 2025</a:t>
            </a:r>
            <a:endParaRPr lang="en-US" noProof="0" dirty="0"/>
          </a:p>
        </p:txBody>
      </p:sp>
      <p:sp>
        <p:nvSpPr>
          <p:cNvPr id="6" name="灯片编号占位符 5">
            <a:extLst>
              <a:ext uri="{FF2B5EF4-FFF2-40B4-BE49-F238E27FC236}">
                <a16:creationId xmlns:a16="http://schemas.microsoft.com/office/drawing/2014/main" id="{459B198A-39B0-F5D8-1A2D-D02C39C7436E}"/>
              </a:ext>
            </a:extLst>
          </p:cNvPr>
          <p:cNvSpPr>
            <a:spLocks noGrp="1"/>
          </p:cNvSpPr>
          <p:nvPr>
            <p:ph type="sldNum" sz="quarter" idx="12"/>
          </p:nvPr>
        </p:nvSpPr>
        <p:spPr/>
        <p:txBody>
          <a:bodyPr/>
          <a:lstStyle/>
          <a:p>
            <a:fld id="{6B54B0F7-55DD-40D6-B7F4-70B586885C0B}" type="slidenum">
              <a:rPr lang="en-US" smtClean="0"/>
              <a:pPr/>
              <a:t>5</a:t>
            </a:fld>
            <a:r>
              <a:rPr lang="en-US"/>
              <a:t>/37</a:t>
            </a:r>
            <a:endParaRPr lang="en-US" noProof="0" dirty="0"/>
          </a:p>
        </p:txBody>
      </p:sp>
    </p:spTree>
    <p:custDataLst>
      <p:tags r:id="rId1"/>
    </p:custDataLst>
    <p:extLst>
      <p:ext uri="{BB962C8B-B14F-4D97-AF65-F5344CB8AC3E}">
        <p14:creationId xmlns:p14="http://schemas.microsoft.com/office/powerpoint/2010/main" val="228794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Arc 77">
            <a:extLst>
              <a:ext uri="{FF2B5EF4-FFF2-40B4-BE49-F238E27FC236}">
                <a16:creationId xmlns:a16="http://schemas.microsoft.com/office/drawing/2014/main" id="{26145EC6-499D-3C46-2E2A-B1E0D681D4D6}"/>
              </a:ext>
            </a:extLst>
          </p:cNvPr>
          <p:cNvSpPr/>
          <p:nvPr/>
        </p:nvSpPr>
        <p:spPr>
          <a:xfrm rot="8451566" flipH="1">
            <a:off x="1677499" y="3925772"/>
            <a:ext cx="120537" cy="1418955"/>
          </a:xfrm>
          <a:prstGeom prst="arc">
            <a:avLst/>
          </a:prstGeom>
          <a:ln>
            <a:prstDash val="dash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 name="Freeform: Shape 100">
            <a:extLst>
              <a:ext uri="{FF2B5EF4-FFF2-40B4-BE49-F238E27FC236}">
                <a16:creationId xmlns:a16="http://schemas.microsoft.com/office/drawing/2014/main" id="{6CB88F6B-3855-D5AD-17BB-F9BDD242D10C}"/>
              </a:ext>
            </a:extLst>
          </p:cNvPr>
          <p:cNvSpPr/>
          <p:nvPr/>
        </p:nvSpPr>
        <p:spPr>
          <a:xfrm>
            <a:off x="4352557" y="4945664"/>
            <a:ext cx="4234672" cy="568163"/>
          </a:xfrm>
          <a:custGeom>
            <a:avLst/>
            <a:gdLst>
              <a:gd name="connsiteX0" fmla="*/ 0 w 4234672"/>
              <a:gd name="connsiteY0" fmla="*/ 91852 h 568163"/>
              <a:gd name="connsiteX1" fmla="*/ 1396724 w 4234672"/>
              <a:gd name="connsiteY1" fmla="*/ 103739 h 568163"/>
              <a:gd name="connsiteX2" fmla="*/ 2278867 w 4234672"/>
              <a:gd name="connsiteY2" fmla="*/ 56186 h 568163"/>
              <a:gd name="connsiteX3" fmla="*/ 3043390 w 4234672"/>
              <a:gd name="connsiteY3" fmla="*/ 8633 h 568163"/>
              <a:gd name="connsiteX4" fmla="*/ 3322735 w 4234672"/>
              <a:gd name="connsiteY4" fmla="*/ 44298 h 568163"/>
              <a:gd name="connsiteX5" fmla="*/ 3499163 w 4234672"/>
              <a:gd name="connsiteY5" fmla="*/ 91852 h 568163"/>
              <a:gd name="connsiteX6" fmla="*/ 3602080 w 4234672"/>
              <a:gd name="connsiteY6" fmla="*/ 139405 h 568163"/>
              <a:gd name="connsiteX7" fmla="*/ 3646186 w 4234672"/>
              <a:gd name="connsiteY7" fmla="*/ 163182 h 568163"/>
              <a:gd name="connsiteX8" fmla="*/ 3807913 w 4234672"/>
              <a:gd name="connsiteY8" fmla="*/ 234512 h 568163"/>
              <a:gd name="connsiteX9" fmla="*/ 3969639 w 4234672"/>
              <a:gd name="connsiteY9" fmla="*/ 258289 h 568163"/>
              <a:gd name="connsiteX10" fmla="*/ 4087258 w 4234672"/>
              <a:gd name="connsiteY10" fmla="*/ 293953 h 568163"/>
              <a:gd name="connsiteX11" fmla="*/ 4160769 w 4234672"/>
              <a:gd name="connsiteY11" fmla="*/ 341507 h 568163"/>
              <a:gd name="connsiteX12" fmla="*/ 4190174 w 4234672"/>
              <a:gd name="connsiteY12" fmla="*/ 389060 h 568163"/>
              <a:gd name="connsiteX13" fmla="*/ 4234282 w 4234672"/>
              <a:gd name="connsiteY13" fmla="*/ 567385 h 568163"/>
              <a:gd name="connsiteX14" fmla="*/ 4234282 w 4234672"/>
              <a:gd name="connsiteY14" fmla="*/ 555497 h 56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34672" h="568163" extrusionOk="0">
                <a:moveTo>
                  <a:pt x="0" y="91852"/>
                </a:moveTo>
                <a:cubicBezTo>
                  <a:pt x="359823" y="170441"/>
                  <a:pt x="880517" y="114028"/>
                  <a:pt x="1396724" y="103739"/>
                </a:cubicBezTo>
                <a:cubicBezTo>
                  <a:pt x="1691369" y="99127"/>
                  <a:pt x="2278867" y="56186"/>
                  <a:pt x="2278867" y="56186"/>
                </a:cubicBezTo>
                <a:cubicBezTo>
                  <a:pt x="2573326" y="-23571"/>
                  <a:pt x="2458607" y="3059"/>
                  <a:pt x="3043390" y="8633"/>
                </a:cubicBezTo>
                <a:cubicBezTo>
                  <a:pt x="3139432" y="7703"/>
                  <a:pt x="3231748" y="31209"/>
                  <a:pt x="3322735" y="44298"/>
                </a:cubicBezTo>
                <a:cubicBezTo>
                  <a:pt x="3383195" y="57111"/>
                  <a:pt x="3453603" y="73216"/>
                  <a:pt x="3499163" y="91852"/>
                </a:cubicBezTo>
                <a:cubicBezTo>
                  <a:pt x="3537793" y="97601"/>
                  <a:pt x="3561864" y="116529"/>
                  <a:pt x="3602080" y="139405"/>
                </a:cubicBezTo>
                <a:cubicBezTo>
                  <a:pt x="3620071" y="150261"/>
                  <a:pt x="3632305" y="157850"/>
                  <a:pt x="3646186" y="163182"/>
                </a:cubicBezTo>
                <a:cubicBezTo>
                  <a:pt x="3694866" y="173690"/>
                  <a:pt x="3753623" y="224200"/>
                  <a:pt x="3807913" y="234512"/>
                </a:cubicBezTo>
                <a:cubicBezTo>
                  <a:pt x="3827948" y="237850"/>
                  <a:pt x="3959002" y="257312"/>
                  <a:pt x="3969639" y="258289"/>
                </a:cubicBezTo>
                <a:cubicBezTo>
                  <a:pt x="4010032" y="277253"/>
                  <a:pt x="4054638" y="276600"/>
                  <a:pt x="4087258" y="293953"/>
                </a:cubicBezTo>
                <a:cubicBezTo>
                  <a:pt x="4271650" y="412457"/>
                  <a:pt x="3988567" y="307162"/>
                  <a:pt x="4160769" y="341507"/>
                </a:cubicBezTo>
                <a:cubicBezTo>
                  <a:pt x="4170777" y="353519"/>
                  <a:pt x="4183693" y="368292"/>
                  <a:pt x="4190174" y="389060"/>
                </a:cubicBezTo>
                <a:cubicBezTo>
                  <a:pt x="4228048" y="445468"/>
                  <a:pt x="4223407" y="530712"/>
                  <a:pt x="4234282" y="567385"/>
                </a:cubicBezTo>
                <a:cubicBezTo>
                  <a:pt x="4234846" y="570138"/>
                  <a:pt x="4234086" y="558671"/>
                  <a:pt x="4234282" y="555497"/>
                </a:cubicBezTo>
              </a:path>
            </a:pathLst>
          </a:custGeom>
          <a:noFill/>
          <a:ln w="3175">
            <a:solidFill>
              <a:srgbClr val="7030A0"/>
            </a:solidFill>
            <a:prstDash val="dashDot"/>
            <a:extLst>
              <a:ext uri="{C807C97D-BFC1-408E-A445-0C87EB9F89A2}">
                <ask:lineSketchStyleProps xmlns:ask="http://schemas.microsoft.com/office/drawing/2018/sketchyshapes" sd="1567437599">
                  <a:custGeom>
                    <a:avLst/>
                    <a:gdLst>
                      <a:gd name="connsiteX0" fmla="*/ 0 w 3762449"/>
                      <a:gd name="connsiteY0" fmla="*/ 100927 h 624295"/>
                      <a:gd name="connsiteX1" fmla="*/ 1240971 w 3762449"/>
                      <a:gd name="connsiteY1" fmla="*/ 113989 h 624295"/>
                      <a:gd name="connsiteX2" fmla="*/ 2024743 w 3762449"/>
                      <a:gd name="connsiteY2" fmla="*/ 61738 h 624295"/>
                      <a:gd name="connsiteX3" fmla="*/ 2704011 w 3762449"/>
                      <a:gd name="connsiteY3" fmla="*/ 9487 h 624295"/>
                      <a:gd name="connsiteX4" fmla="*/ 2952206 w 3762449"/>
                      <a:gd name="connsiteY4" fmla="*/ 48675 h 624295"/>
                      <a:gd name="connsiteX5" fmla="*/ 3108960 w 3762449"/>
                      <a:gd name="connsiteY5" fmla="*/ 100927 h 624295"/>
                      <a:gd name="connsiteX6" fmla="*/ 3200400 w 3762449"/>
                      <a:gd name="connsiteY6" fmla="*/ 153178 h 624295"/>
                      <a:gd name="connsiteX7" fmla="*/ 3239588 w 3762449"/>
                      <a:gd name="connsiteY7" fmla="*/ 179304 h 624295"/>
                      <a:gd name="connsiteX8" fmla="*/ 3383280 w 3762449"/>
                      <a:gd name="connsiteY8" fmla="*/ 257681 h 624295"/>
                      <a:gd name="connsiteX9" fmla="*/ 3526971 w 3762449"/>
                      <a:gd name="connsiteY9" fmla="*/ 283807 h 624295"/>
                      <a:gd name="connsiteX10" fmla="*/ 3631474 w 3762449"/>
                      <a:gd name="connsiteY10" fmla="*/ 322995 h 624295"/>
                      <a:gd name="connsiteX11" fmla="*/ 3696788 w 3762449"/>
                      <a:gd name="connsiteY11" fmla="*/ 375247 h 624295"/>
                      <a:gd name="connsiteX12" fmla="*/ 3722914 w 3762449"/>
                      <a:gd name="connsiteY12" fmla="*/ 427498 h 624295"/>
                      <a:gd name="connsiteX13" fmla="*/ 3762103 w 3762449"/>
                      <a:gd name="connsiteY13" fmla="*/ 623441 h 624295"/>
                      <a:gd name="connsiteX14" fmla="*/ 3762103 w 3762449"/>
                      <a:gd name="connsiteY14" fmla="*/ 610378 h 62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2449" h="624295">
                        <a:moveTo>
                          <a:pt x="0" y="100927"/>
                        </a:moveTo>
                        <a:cubicBezTo>
                          <a:pt x="413657" y="105281"/>
                          <a:pt x="827369" y="121994"/>
                          <a:pt x="1240971" y="113989"/>
                        </a:cubicBezTo>
                        <a:cubicBezTo>
                          <a:pt x="1502759" y="108922"/>
                          <a:pt x="2024743" y="61738"/>
                          <a:pt x="2024743" y="61738"/>
                        </a:cubicBezTo>
                        <a:cubicBezTo>
                          <a:pt x="2278748" y="-22931"/>
                          <a:pt x="2181677" y="1451"/>
                          <a:pt x="2704011" y="9487"/>
                        </a:cubicBezTo>
                        <a:cubicBezTo>
                          <a:pt x="2787758" y="10775"/>
                          <a:pt x="2869474" y="35612"/>
                          <a:pt x="2952206" y="48675"/>
                        </a:cubicBezTo>
                        <a:cubicBezTo>
                          <a:pt x="3004457" y="66092"/>
                          <a:pt x="3058198" y="79554"/>
                          <a:pt x="3108960" y="100927"/>
                        </a:cubicBezTo>
                        <a:cubicBezTo>
                          <a:pt x="3141314" y="114550"/>
                          <a:pt x="3170297" y="135116"/>
                          <a:pt x="3200400" y="153178"/>
                        </a:cubicBezTo>
                        <a:cubicBezTo>
                          <a:pt x="3213862" y="161255"/>
                          <a:pt x="3226275" y="170983"/>
                          <a:pt x="3239588" y="179304"/>
                        </a:cubicBezTo>
                        <a:cubicBezTo>
                          <a:pt x="3275457" y="201722"/>
                          <a:pt x="3344885" y="243719"/>
                          <a:pt x="3383280" y="257681"/>
                        </a:cubicBezTo>
                        <a:cubicBezTo>
                          <a:pt x="3398729" y="263299"/>
                          <a:pt x="3517162" y="282172"/>
                          <a:pt x="3526971" y="283807"/>
                        </a:cubicBezTo>
                        <a:cubicBezTo>
                          <a:pt x="3561805" y="296870"/>
                          <a:pt x="3599573" y="303854"/>
                          <a:pt x="3631474" y="322995"/>
                        </a:cubicBezTo>
                        <a:cubicBezTo>
                          <a:pt x="3779196" y="411628"/>
                          <a:pt x="3542760" y="323903"/>
                          <a:pt x="3696788" y="375247"/>
                        </a:cubicBezTo>
                        <a:cubicBezTo>
                          <a:pt x="3705497" y="392664"/>
                          <a:pt x="3715243" y="409600"/>
                          <a:pt x="3722914" y="427498"/>
                        </a:cubicBezTo>
                        <a:cubicBezTo>
                          <a:pt x="3747616" y="485136"/>
                          <a:pt x="3753378" y="575457"/>
                          <a:pt x="3762103" y="623441"/>
                        </a:cubicBezTo>
                        <a:cubicBezTo>
                          <a:pt x="3762882" y="627725"/>
                          <a:pt x="3762103" y="614732"/>
                          <a:pt x="3762103" y="610378"/>
                        </a:cubicBezTo>
                      </a:path>
                    </a:pathLst>
                  </a:cu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 name="Freeform: Shape 98">
            <a:extLst>
              <a:ext uri="{FF2B5EF4-FFF2-40B4-BE49-F238E27FC236}">
                <a16:creationId xmlns:a16="http://schemas.microsoft.com/office/drawing/2014/main" id="{2156F8FD-9278-9CA4-B6D5-737D266D0A76}"/>
              </a:ext>
            </a:extLst>
          </p:cNvPr>
          <p:cNvSpPr/>
          <p:nvPr/>
        </p:nvSpPr>
        <p:spPr>
          <a:xfrm>
            <a:off x="9641311" y="4374390"/>
            <a:ext cx="785202" cy="641230"/>
          </a:xfrm>
          <a:custGeom>
            <a:avLst/>
            <a:gdLst>
              <a:gd name="connsiteX0" fmla="*/ 0 w 1073051"/>
              <a:gd name="connsiteY0" fmla="*/ 0 h 378823"/>
              <a:gd name="connsiteX1" fmla="*/ 300446 w 1073051"/>
              <a:gd name="connsiteY1" fmla="*/ 39189 h 378823"/>
              <a:gd name="connsiteX2" fmla="*/ 391886 w 1073051"/>
              <a:gd name="connsiteY2" fmla="*/ 65315 h 378823"/>
              <a:gd name="connsiteX3" fmla="*/ 718457 w 1073051"/>
              <a:gd name="connsiteY3" fmla="*/ 130629 h 378823"/>
              <a:gd name="connsiteX4" fmla="*/ 953589 w 1073051"/>
              <a:gd name="connsiteY4" fmla="*/ 143692 h 378823"/>
              <a:gd name="connsiteX5" fmla="*/ 1005840 w 1073051"/>
              <a:gd name="connsiteY5" fmla="*/ 195943 h 378823"/>
              <a:gd name="connsiteX6" fmla="*/ 1071154 w 1073051"/>
              <a:gd name="connsiteY6" fmla="*/ 313509 h 378823"/>
              <a:gd name="connsiteX7" fmla="*/ 1071154 w 1073051"/>
              <a:gd name="connsiteY7" fmla="*/ 378823 h 3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051" h="378823">
                <a:moveTo>
                  <a:pt x="0" y="0"/>
                </a:moveTo>
                <a:cubicBezTo>
                  <a:pt x="100149" y="13063"/>
                  <a:pt x="200823" y="22585"/>
                  <a:pt x="300446" y="39189"/>
                </a:cubicBezTo>
                <a:cubicBezTo>
                  <a:pt x="331714" y="44400"/>
                  <a:pt x="361133" y="57627"/>
                  <a:pt x="391886" y="65315"/>
                </a:cubicBezTo>
                <a:cubicBezTo>
                  <a:pt x="480589" y="87491"/>
                  <a:pt x="625429" y="121326"/>
                  <a:pt x="718457" y="130629"/>
                </a:cubicBezTo>
                <a:cubicBezTo>
                  <a:pt x="796566" y="138440"/>
                  <a:pt x="875212" y="139338"/>
                  <a:pt x="953589" y="143692"/>
                </a:cubicBezTo>
                <a:cubicBezTo>
                  <a:pt x="971006" y="161109"/>
                  <a:pt x="989620" y="177406"/>
                  <a:pt x="1005840" y="195943"/>
                </a:cubicBezTo>
                <a:cubicBezTo>
                  <a:pt x="1035880" y="230275"/>
                  <a:pt x="1061949" y="267484"/>
                  <a:pt x="1071154" y="313509"/>
                </a:cubicBezTo>
                <a:cubicBezTo>
                  <a:pt x="1075424" y="334858"/>
                  <a:pt x="1071154" y="357052"/>
                  <a:pt x="1071154" y="378823"/>
                </a:cubicBezTo>
              </a:path>
            </a:pathLst>
          </a:custGeom>
          <a:ln>
            <a:prstDash val="dashDot"/>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Freeform: Shape 99">
            <a:extLst>
              <a:ext uri="{FF2B5EF4-FFF2-40B4-BE49-F238E27FC236}">
                <a16:creationId xmlns:a16="http://schemas.microsoft.com/office/drawing/2014/main" id="{282858E3-5232-92AE-49A3-64FB6016392B}"/>
              </a:ext>
            </a:extLst>
          </p:cNvPr>
          <p:cNvSpPr/>
          <p:nvPr/>
        </p:nvSpPr>
        <p:spPr>
          <a:xfrm>
            <a:off x="9612297" y="4537126"/>
            <a:ext cx="607263" cy="641230"/>
          </a:xfrm>
          <a:custGeom>
            <a:avLst/>
            <a:gdLst>
              <a:gd name="connsiteX0" fmla="*/ 0 w 1073051"/>
              <a:gd name="connsiteY0" fmla="*/ 0 h 378823"/>
              <a:gd name="connsiteX1" fmla="*/ 300446 w 1073051"/>
              <a:gd name="connsiteY1" fmla="*/ 39189 h 378823"/>
              <a:gd name="connsiteX2" fmla="*/ 391886 w 1073051"/>
              <a:gd name="connsiteY2" fmla="*/ 65315 h 378823"/>
              <a:gd name="connsiteX3" fmla="*/ 718457 w 1073051"/>
              <a:gd name="connsiteY3" fmla="*/ 130629 h 378823"/>
              <a:gd name="connsiteX4" fmla="*/ 953589 w 1073051"/>
              <a:gd name="connsiteY4" fmla="*/ 143692 h 378823"/>
              <a:gd name="connsiteX5" fmla="*/ 1005840 w 1073051"/>
              <a:gd name="connsiteY5" fmla="*/ 195943 h 378823"/>
              <a:gd name="connsiteX6" fmla="*/ 1071154 w 1073051"/>
              <a:gd name="connsiteY6" fmla="*/ 313509 h 378823"/>
              <a:gd name="connsiteX7" fmla="*/ 1071154 w 1073051"/>
              <a:gd name="connsiteY7" fmla="*/ 378823 h 3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051" h="378823">
                <a:moveTo>
                  <a:pt x="0" y="0"/>
                </a:moveTo>
                <a:cubicBezTo>
                  <a:pt x="100149" y="13063"/>
                  <a:pt x="200823" y="22585"/>
                  <a:pt x="300446" y="39189"/>
                </a:cubicBezTo>
                <a:cubicBezTo>
                  <a:pt x="331714" y="44400"/>
                  <a:pt x="361133" y="57627"/>
                  <a:pt x="391886" y="65315"/>
                </a:cubicBezTo>
                <a:cubicBezTo>
                  <a:pt x="480589" y="87491"/>
                  <a:pt x="625429" y="121326"/>
                  <a:pt x="718457" y="130629"/>
                </a:cubicBezTo>
                <a:cubicBezTo>
                  <a:pt x="796566" y="138440"/>
                  <a:pt x="875212" y="139338"/>
                  <a:pt x="953589" y="143692"/>
                </a:cubicBezTo>
                <a:cubicBezTo>
                  <a:pt x="971006" y="161109"/>
                  <a:pt x="989620" y="177406"/>
                  <a:pt x="1005840" y="195943"/>
                </a:cubicBezTo>
                <a:cubicBezTo>
                  <a:pt x="1035880" y="230275"/>
                  <a:pt x="1061949" y="267484"/>
                  <a:pt x="1071154" y="313509"/>
                </a:cubicBezTo>
                <a:cubicBezTo>
                  <a:pt x="1075424" y="334858"/>
                  <a:pt x="1071154" y="357052"/>
                  <a:pt x="1071154" y="378823"/>
                </a:cubicBezTo>
              </a:path>
            </a:pathLst>
          </a:custGeom>
          <a:ln>
            <a:prstDash val="dashDot"/>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cxnSp>
        <p:nvCxnSpPr>
          <p:cNvPr id="7" name="Google Shape;721;p68">
            <a:extLst>
              <a:ext uri="{FF2B5EF4-FFF2-40B4-BE49-F238E27FC236}">
                <a16:creationId xmlns:a16="http://schemas.microsoft.com/office/drawing/2014/main" id="{C4C8D237-CF19-5362-10B5-C5C1C33DA295}"/>
              </a:ext>
            </a:extLst>
          </p:cNvPr>
          <p:cNvCxnSpPr>
            <a:cxnSpLocks/>
          </p:cNvCxnSpPr>
          <p:nvPr/>
        </p:nvCxnSpPr>
        <p:spPr>
          <a:xfrm>
            <a:off x="4265381" y="2572085"/>
            <a:ext cx="0" cy="715082"/>
          </a:xfrm>
          <a:prstGeom prst="straightConnector1">
            <a:avLst/>
          </a:prstGeom>
          <a:noFill/>
          <a:ln w="19050" cap="flat" cmpd="sng">
            <a:solidFill>
              <a:schemeClr val="accent6">
                <a:lumMod val="50000"/>
              </a:schemeClr>
            </a:solidFill>
            <a:prstDash val="dashDot"/>
            <a:round/>
            <a:headEnd type="diamond" w="med" len="med"/>
            <a:tailEnd type="none" w="med" len="med"/>
          </a:ln>
        </p:spPr>
      </p:cxnSp>
      <p:cxnSp>
        <p:nvCxnSpPr>
          <p:cNvPr id="8" name="Straight Arrow Connector 23">
            <a:extLst>
              <a:ext uri="{FF2B5EF4-FFF2-40B4-BE49-F238E27FC236}">
                <a16:creationId xmlns:a16="http://schemas.microsoft.com/office/drawing/2014/main" id="{C9774027-FC15-DF9F-491B-C5F2232B4675}"/>
              </a:ext>
            </a:extLst>
          </p:cNvPr>
          <p:cNvCxnSpPr>
            <a:cxnSpLocks/>
          </p:cNvCxnSpPr>
          <p:nvPr/>
        </p:nvCxnSpPr>
        <p:spPr>
          <a:xfrm>
            <a:off x="259572" y="3636737"/>
            <a:ext cx="115361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48">
            <a:extLst>
              <a:ext uri="{FF2B5EF4-FFF2-40B4-BE49-F238E27FC236}">
                <a16:creationId xmlns:a16="http://schemas.microsoft.com/office/drawing/2014/main" id="{AFEB2B8D-5C7F-4D46-6F1F-32BEEE7E9F5C}"/>
              </a:ext>
            </a:extLst>
          </p:cNvPr>
          <p:cNvSpPr txBox="1"/>
          <p:nvPr/>
        </p:nvSpPr>
        <p:spPr>
          <a:xfrm>
            <a:off x="774846" y="4142894"/>
            <a:ext cx="1618989" cy="784446"/>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err="1">
                <a:ln>
                  <a:noFill/>
                </a:ln>
                <a:solidFill>
                  <a:srgbClr val="23004C">
                    <a:lumMod val="90000"/>
                    <a:lumOff val="10000"/>
                  </a:srgbClr>
                </a:solidFill>
                <a:effectLst/>
                <a:uLnTx/>
                <a:uFillTx/>
                <a:latin typeface="Verdana"/>
                <a:ea typeface="+mn-ea"/>
                <a:cs typeface="+mn-cs"/>
              </a:rPr>
              <a:t>Database</a:t>
            </a: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 design</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CRF design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FTS </a:t>
            </a:r>
            <a:r>
              <a:rPr kumimoji="0" lang="fr-FR" sz="1200" b="1" i="0" u="none" strike="noStrike" kern="1200" cap="none" spc="0" normalizeH="0" baseline="0" noProof="0" err="1">
                <a:ln>
                  <a:noFill/>
                </a:ln>
                <a:solidFill>
                  <a:srgbClr val="23004C">
                    <a:lumMod val="90000"/>
                    <a:lumOff val="10000"/>
                  </a:srgbClr>
                </a:solidFill>
                <a:effectLst/>
                <a:uLnTx/>
                <a:uFillTx/>
                <a:latin typeface="Verdana"/>
                <a:ea typeface="+mn-ea"/>
                <a:cs typeface="+mn-cs"/>
              </a:rPr>
              <a:t>set-up</a:t>
            </a:r>
            <a:endParaRPr kumimoji="0" lang="en-US" sz="1050" b="0"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sp>
        <p:nvSpPr>
          <p:cNvPr id="11" name="Rectangle 67">
            <a:extLst>
              <a:ext uri="{FF2B5EF4-FFF2-40B4-BE49-F238E27FC236}">
                <a16:creationId xmlns:a16="http://schemas.microsoft.com/office/drawing/2014/main" id="{0E3F1632-A8F2-D4DE-317B-42939F8B60CF}"/>
              </a:ext>
            </a:extLst>
          </p:cNvPr>
          <p:cNvSpPr/>
          <p:nvPr/>
        </p:nvSpPr>
        <p:spPr>
          <a:xfrm>
            <a:off x="526603" y="3299422"/>
            <a:ext cx="1831329" cy="61941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23004C">
                    <a:lumMod val="90000"/>
                    <a:lumOff val="10000"/>
                  </a:srgbClr>
                </a:solidFill>
                <a:effectLst/>
                <a:uLnTx/>
                <a:uFillTx/>
                <a:latin typeface="Verdana"/>
                <a:ea typeface="+mn-ea"/>
                <a:cs typeface="+mn-cs"/>
              </a:rPr>
              <a:t>Study start-up</a:t>
            </a:r>
            <a:endParaRPr kumimoji="0" lang="en-US" sz="1400" b="0"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sp>
        <p:nvSpPr>
          <p:cNvPr id="12" name="Rectangle 68">
            <a:extLst>
              <a:ext uri="{FF2B5EF4-FFF2-40B4-BE49-F238E27FC236}">
                <a16:creationId xmlns:a16="http://schemas.microsoft.com/office/drawing/2014/main" id="{E4BDF215-CED5-A340-82F1-060F056C4918}"/>
              </a:ext>
            </a:extLst>
          </p:cNvPr>
          <p:cNvSpPr/>
          <p:nvPr/>
        </p:nvSpPr>
        <p:spPr>
          <a:xfrm>
            <a:off x="5592735" y="3306075"/>
            <a:ext cx="2191040" cy="61941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23004C">
                    <a:lumMod val="90000"/>
                    <a:lumOff val="10000"/>
                  </a:srgbClr>
                </a:solidFill>
                <a:effectLst/>
                <a:uLnTx/>
                <a:uFillTx/>
                <a:latin typeface="Verdana"/>
                <a:ea typeface="+mn-ea"/>
                <a:cs typeface="+mn-cs"/>
              </a:rPr>
              <a:t>Study</a:t>
            </a:r>
            <a:r>
              <a:rPr kumimoji="0" lang="fr-FR" sz="1400" b="0" i="0" u="none" strike="noStrike" kern="1200" cap="none" spc="0" normalizeH="0" baseline="0" noProof="0">
                <a:ln>
                  <a:noFill/>
                </a:ln>
                <a:solidFill>
                  <a:srgbClr val="23004C">
                    <a:lumMod val="90000"/>
                    <a:lumOff val="10000"/>
                  </a:srgbClr>
                </a:solidFill>
                <a:effectLst/>
                <a:uLnTx/>
                <a:uFillTx/>
                <a:latin typeface="Verdana"/>
                <a:ea typeface="+mn-ea"/>
                <a:cs typeface="+mn-cs"/>
              </a:rPr>
              <a:t> close-out</a:t>
            </a:r>
            <a:endParaRPr kumimoji="0" lang="en-US" sz="1400" b="0"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sp>
        <p:nvSpPr>
          <p:cNvPr id="13" name="Callout: Up Arrow 4">
            <a:extLst>
              <a:ext uri="{FF2B5EF4-FFF2-40B4-BE49-F238E27FC236}">
                <a16:creationId xmlns:a16="http://schemas.microsoft.com/office/drawing/2014/main" id="{72668CD1-B308-4C09-FBBC-D47302658A4F}"/>
              </a:ext>
            </a:extLst>
          </p:cNvPr>
          <p:cNvSpPr txBox="1"/>
          <p:nvPr/>
        </p:nvSpPr>
        <p:spPr>
          <a:xfrm>
            <a:off x="849087" y="1253665"/>
            <a:ext cx="2168486" cy="874543"/>
          </a:xfrm>
          <a:prstGeom prst="rect">
            <a:avLst/>
          </a:prstGeom>
          <a:solidFill>
            <a:schemeClr val="accent6">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36000" bIns="165100" numCol="1" spcCol="1270" rtlCol="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FPI : 1</a:t>
            </a:r>
            <a:r>
              <a:rPr kumimoji="0" lang="en-US" sz="1400" b="1" i="0" u="none" strike="noStrike" kern="1200" cap="none" spc="0" normalizeH="0" baseline="30000" noProof="0" dirty="0">
                <a:ln>
                  <a:noFill/>
                </a:ln>
                <a:solidFill>
                  <a:srgbClr val="23004C">
                    <a:lumMod val="90000"/>
                    <a:lumOff val="10000"/>
                  </a:srgbClr>
                </a:solidFill>
                <a:effectLst/>
                <a:uLnTx/>
                <a:uFillTx/>
                <a:latin typeface="Verdana"/>
                <a:ea typeface="+mn-ea"/>
                <a:cs typeface="+mn-cs"/>
              </a:rPr>
              <a:t>st</a:t>
            </a: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 P21</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mapping issue </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MD structure issue</a:t>
            </a: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p:txBody>
      </p:sp>
      <p:cxnSp>
        <p:nvCxnSpPr>
          <p:cNvPr id="14" name="Google Shape;721;p68">
            <a:extLst>
              <a:ext uri="{FF2B5EF4-FFF2-40B4-BE49-F238E27FC236}">
                <a16:creationId xmlns:a16="http://schemas.microsoft.com/office/drawing/2014/main" id="{FCCB42CB-BB07-74C7-FE29-8C4941F484AC}"/>
              </a:ext>
            </a:extLst>
          </p:cNvPr>
          <p:cNvCxnSpPr>
            <a:cxnSpLocks/>
          </p:cNvCxnSpPr>
          <p:nvPr/>
        </p:nvCxnSpPr>
        <p:spPr>
          <a:xfrm flipH="1">
            <a:off x="7769027" y="1737137"/>
            <a:ext cx="14746" cy="1567252"/>
          </a:xfrm>
          <a:prstGeom prst="straightConnector1">
            <a:avLst/>
          </a:prstGeom>
          <a:noFill/>
          <a:ln w="19050" cap="flat" cmpd="sng">
            <a:solidFill>
              <a:schemeClr val="accent6">
                <a:lumMod val="50000"/>
              </a:schemeClr>
            </a:solidFill>
            <a:prstDash val="solid"/>
            <a:round/>
            <a:headEnd type="diamond" w="med" len="med"/>
            <a:tailEnd type="none" w="med" len="med"/>
          </a:ln>
        </p:spPr>
      </p:cxnSp>
      <p:grpSp>
        <p:nvGrpSpPr>
          <p:cNvPr id="15" name="Group 9">
            <a:extLst>
              <a:ext uri="{FF2B5EF4-FFF2-40B4-BE49-F238E27FC236}">
                <a16:creationId xmlns:a16="http://schemas.microsoft.com/office/drawing/2014/main" id="{0643A7D7-968E-2021-1892-1B4BC24A0A96}"/>
              </a:ext>
            </a:extLst>
          </p:cNvPr>
          <p:cNvGrpSpPr/>
          <p:nvPr/>
        </p:nvGrpSpPr>
        <p:grpSpPr>
          <a:xfrm>
            <a:off x="10742667" y="3267636"/>
            <a:ext cx="696293" cy="696293"/>
            <a:chOff x="8682232" y="2893341"/>
            <a:chExt cx="696293" cy="696293"/>
          </a:xfrm>
        </p:grpSpPr>
        <p:sp>
          <p:nvSpPr>
            <p:cNvPr id="16" name="Oval 4">
              <a:extLst>
                <a:ext uri="{FF2B5EF4-FFF2-40B4-BE49-F238E27FC236}">
                  <a16:creationId xmlns:a16="http://schemas.microsoft.com/office/drawing/2014/main" id="{26EF988E-5D72-9678-CF90-B3E515F6F67E}"/>
                </a:ext>
              </a:extLst>
            </p:cNvPr>
            <p:cNvSpPr/>
            <p:nvPr/>
          </p:nvSpPr>
          <p:spPr>
            <a:xfrm>
              <a:off x="8682232" y="2893341"/>
              <a:ext cx="696293" cy="696293"/>
            </a:xfrm>
            <a:prstGeom prst="ellipse">
              <a:avLst/>
            </a:prstGeom>
            <a:solidFill>
              <a:schemeClr val="bg1"/>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pic>
          <p:nvPicPr>
            <p:cNvPr id="17" name="Picture 2" descr="Shape&#10;&#10;Description automatically generated with low confidence">
              <a:extLst>
                <a:ext uri="{FF2B5EF4-FFF2-40B4-BE49-F238E27FC236}">
                  <a16:creationId xmlns:a16="http://schemas.microsoft.com/office/drawing/2014/main" id="{E02853DC-B834-F511-66EF-834CCAC4F905}"/>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759106" y="2950082"/>
              <a:ext cx="619419" cy="619419"/>
            </a:xfrm>
            <a:prstGeom prst="rect">
              <a:avLst/>
            </a:prstGeom>
          </p:spPr>
        </p:pic>
      </p:grpSp>
      <p:sp>
        <p:nvSpPr>
          <p:cNvPr id="18" name="Rectangle 39">
            <a:extLst>
              <a:ext uri="{FF2B5EF4-FFF2-40B4-BE49-F238E27FC236}">
                <a16:creationId xmlns:a16="http://schemas.microsoft.com/office/drawing/2014/main" id="{77CB368A-B38C-3B53-B1A8-3951F216E5E4}"/>
              </a:ext>
            </a:extLst>
          </p:cNvPr>
          <p:cNvSpPr/>
          <p:nvPr/>
        </p:nvSpPr>
        <p:spPr>
          <a:xfrm>
            <a:off x="2633842" y="3307660"/>
            <a:ext cx="2730549" cy="61941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23004C">
                    <a:lumMod val="90000"/>
                    <a:lumOff val="10000"/>
                  </a:srgbClr>
                </a:solidFill>
                <a:effectLst/>
                <a:uLnTx/>
                <a:uFillTx/>
                <a:latin typeface="Verdana"/>
                <a:ea typeface="+mn-ea"/>
                <a:cs typeface="+mn-cs"/>
              </a:rPr>
              <a:t>Study conduct</a:t>
            </a:r>
            <a:endParaRPr kumimoji="0" lang="en-US" sz="1400" b="0"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cxnSp>
        <p:nvCxnSpPr>
          <p:cNvPr id="19" name="Google Shape;721;p68">
            <a:extLst>
              <a:ext uri="{FF2B5EF4-FFF2-40B4-BE49-F238E27FC236}">
                <a16:creationId xmlns:a16="http://schemas.microsoft.com/office/drawing/2014/main" id="{32229B5A-CB71-1AEE-DC84-1F85C4C71F9E}"/>
              </a:ext>
            </a:extLst>
          </p:cNvPr>
          <p:cNvCxnSpPr>
            <a:cxnSpLocks/>
          </p:cNvCxnSpPr>
          <p:nvPr/>
        </p:nvCxnSpPr>
        <p:spPr>
          <a:xfrm>
            <a:off x="2633842" y="2183599"/>
            <a:ext cx="0" cy="1120790"/>
          </a:xfrm>
          <a:prstGeom prst="straightConnector1">
            <a:avLst/>
          </a:prstGeom>
          <a:noFill/>
          <a:ln w="19050" cap="flat" cmpd="sng">
            <a:solidFill>
              <a:schemeClr val="accent6">
                <a:lumMod val="50000"/>
              </a:schemeClr>
            </a:solidFill>
            <a:prstDash val="solid"/>
            <a:round/>
            <a:headEnd type="diamond" w="med" len="med"/>
            <a:tailEnd type="none" w="med" len="med"/>
          </a:ln>
        </p:spPr>
      </p:cxnSp>
      <p:sp>
        <p:nvSpPr>
          <p:cNvPr id="20" name="Rectangle 1">
            <a:extLst>
              <a:ext uri="{FF2B5EF4-FFF2-40B4-BE49-F238E27FC236}">
                <a16:creationId xmlns:a16="http://schemas.microsoft.com/office/drawing/2014/main" id="{A530212C-7AFB-67B5-51CC-BFFED6E1BFEA}"/>
              </a:ext>
            </a:extLst>
          </p:cNvPr>
          <p:cNvSpPr/>
          <p:nvPr/>
        </p:nvSpPr>
        <p:spPr>
          <a:xfrm>
            <a:off x="8028520" y="3306074"/>
            <a:ext cx="2191040" cy="61941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srgbClr val="23004C">
                    <a:lumMod val="90000"/>
                    <a:lumOff val="10000"/>
                  </a:srgbClr>
                </a:solidFill>
                <a:effectLst/>
                <a:uLnTx/>
                <a:uFillTx/>
                <a:latin typeface="Verdana"/>
                <a:ea typeface="+mn-ea"/>
                <a:cs typeface="+mn-cs"/>
              </a:rPr>
              <a:t>Submission</a:t>
            </a:r>
            <a:endParaRPr kumimoji="0" lang="fr-FR" sz="1400" b="0"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sp>
        <p:nvSpPr>
          <p:cNvPr id="21" name="TextBox 20">
            <a:extLst>
              <a:ext uri="{FF2B5EF4-FFF2-40B4-BE49-F238E27FC236}">
                <a16:creationId xmlns:a16="http://schemas.microsoft.com/office/drawing/2014/main" id="{0221FE20-E84F-7823-E25F-8BC2EBBE468F}"/>
              </a:ext>
            </a:extLst>
          </p:cNvPr>
          <p:cNvSpPr txBox="1"/>
          <p:nvPr/>
        </p:nvSpPr>
        <p:spPr>
          <a:xfrm>
            <a:off x="3111115" y="4137143"/>
            <a:ext cx="1917276" cy="1024511"/>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Data entry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System convention</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fr-FR" sz="1200" b="1" i="0" u="none" strike="noStrike" kern="1200" cap="none" spc="0" normalizeH="0" baseline="0" noProof="0">
                <a:ln>
                  <a:noFill/>
                </a:ln>
                <a:solidFill>
                  <a:srgbClr val="23004C">
                    <a:lumMod val="90000"/>
                    <a:lumOff val="10000"/>
                  </a:srgbClr>
                </a:solidFill>
                <a:effectLst/>
                <a:uLnTx/>
                <a:uFillTx/>
                <a:latin typeface="Verdana"/>
                <a:ea typeface="+mn-ea"/>
                <a:cs typeface="+mn-cs"/>
              </a:rPr>
              <a:t>Mapping</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Programming</a:t>
            </a:r>
          </a:p>
        </p:txBody>
      </p:sp>
      <p:sp>
        <p:nvSpPr>
          <p:cNvPr id="22" name="TextBox 27">
            <a:extLst>
              <a:ext uri="{FF2B5EF4-FFF2-40B4-BE49-F238E27FC236}">
                <a16:creationId xmlns:a16="http://schemas.microsoft.com/office/drawing/2014/main" id="{EA055616-A3DC-376D-7A5D-9B45525B7211}"/>
              </a:ext>
            </a:extLst>
          </p:cNvPr>
          <p:cNvSpPr txBox="1"/>
          <p:nvPr/>
        </p:nvSpPr>
        <p:spPr>
          <a:xfrm>
            <a:off x="5826725" y="4142894"/>
            <a:ext cx="1917276" cy="784446"/>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EDL loading</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CRF page in/active</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Programming</a:t>
            </a:r>
          </a:p>
        </p:txBody>
      </p:sp>
      <p:sp>
        <p:nvSpPr>
          <p:cNvPr id="23" name="Callout: Up Arrow 4">
            <a:extLst>
              <a:ext uri="{FF2B5EF4-FFF2-40B4-BE49-F238E27FC236}">
                <a16:creationId xmlns:a16="http://schemas.microsoft.com/office/drawing/2014/main" id="{AA7AA6D5-0EFA-5F65-C31D-D852C32DECC7}"/>
              </a:ext>
            </a:extLst>
          </p:cNvPr>
          <p:cNvSpPr txBox="1"/>
          <p:nvPr/>
        </p:nvSpPr>
        <p:spPr>
          <a:xfrm>
            <a:off x="3178672" y="1274375"/>
            <a:ext cx="2503584" cy="1152007"/>
          </a:xfrm>
          <a:prstGeom prst="rect">
            <a:avLst/>
          </a:prstGeom>
          <a:solidFill>
            <a:schemeClr val="accent6">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36000" bIns="165100" numCol="1" spcCol="1270" rtlCol="0" anchor="t" anchorCtr="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P21 per milestone </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data issue </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MD structure issue</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Programming iss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p:txBody>
      </p:sp>
      <p:sp>
        <p:nvSpPr>
          <p:cNvPr id="24" name="Callout: Up Arrow 4">
            <a:extLst>
              <a:ext uri="{FF2B5EF4-FFF2-40B4-BE49-F238E27FC236}">
                <a16:creationId xmlns:a16="http://schemas.microsoft.com/office/drawing/2014/main" id="{1E8DA937-4898-7C9F-B32B-ACB01A72687E}"/>
              </a:ext>
            </a:extLst>
          </p:cNvPr>
          <p:cNvSpPr txBox="1"/>
          <p:nvPr/>
        </p:nvSpPr>
        <p:spPr>
          <a:xfrm>
            <a:off x="8075505" y="1964635"/>
            <a:ext cx="2157118" cy="1214900"/>
          </a:xfrm>
          <a:prstGeom prst="rect">
            <a:avLst/>
          </a:prstGeom>
          <a:solidFill>
            <a:schemeClr val="accent6">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36000" bIns="165100" numCol="1" spcCol="1270" rtlCol="0" anchor="t" anchorCtr="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P21 for submission </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data issue</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MD issue</a:t>
            </a:r>
          </a:p>
          <a:p>
            <a:pPr marL="9144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CT issue</a:t>
            </a:r>
          </a:p>
        </p:txBody>
      </p:sp>
      <p:sp>
        <p:nvSpPr>
          <p:cNvPr id="25" name="Callout: Up Arrow 4">
            <a:extLst>
              <a:ext uri="{FF2B5EF4-FFF2-40B4-BE49-F238E27FC236}">
                <a16:creationId xmlns:a16="http://schemas.microsoft.com/office/drawing/2014/main" id="{B7BBCDEC-CC39-08FB-9DBA-9A88988D2CFA}"/>
              </a:ext>
            </a:extLst>
          </p:cNvPr>
          <p:cNvSpPr txBox="1"/>
          <p:nvPr/>
        </p:nvSpPr>
        <p:spPr>
          <a:xfrm>
            <a:off x="6688256" y="783064"/>
            <a:ext cx="1431146" cy="911467"/>
          </a:xfrm>
          <a:prstGeom prst="rect">
            <a:avLst/>
          </a:prstGeom>
          <a:solidFill>
            <a:schemeClr val="accent6">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36000" bIns="165100" numCol="1" spcCol="1270" rtlCol="0" anchor="t" anchorCtr="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P21 for DBL</a:t>
            </a:r>
            <a:endParaRPr kumimoji="0" lang="en-US" sz="1200" b="1"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a:p>
            <a:pPr marL="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rPr>
              <a:t>data issue</a:t>
            </a:r>
          </a:p>
          <a:p>
            <a:pPr marL="0" marR="0" lvl="0" indent="-13716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F</a:t>
            </a:r>
            <a:r>
              <a:rPr kumimoji="0" lang="en-US" altLang="zh-CN"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inal check</a:t>
            </a:r>
            <a:endPar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p:txBody>
      </p:sp>
      <p:sp>
        <p:nvSpPr>
          <p:cNvPr id="26" name="Callout: Up Arrow 4">
            <a:extLst>
              <a:ext uri="{FF2B5EF4-FFF2-40B4-BE49-F238E27FC236}">
                <a16:creationId xmlns:a16="http://schemas.microsoft.com/office/drawing/2014/main" id="{D066264E-AA07-DBE3-8A7A-A2D9A342A405}"/>
              </a:ext>
            </a:extLst>
          </p:cNvPr>
          <p:cNvSpPr txBox="1"/>
          <p:nvPr/>
        </p:nvSpPr>
        <p:spPr>
          <a:xfrm>
            <a:off x="10495679" y="2480488"/>
            <a:ext cx="1300080" cy="619418"/>
          </a:xfrm>
          <a:prstGeom prst="rect">
            <a:avLst/>
          </a:prstGeom>
          <a:solidFill>
            <a:schemeClr val="accent6">
              <a:lumMod val="40000"/>
              <a:lumOff val="6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36000" bIns="165100" numCol="1" spcCol="1270" rtlCol="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Explanation/sol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23004C">
                  <a:lumMod val="90000"/>
                  <a:lumOff val="10000"/>
                </a:srgbClr>
              </a:solidFill>
              <a:effectLst/>
              <a:uLnTx/>
              <a:uFillTx/>
              <a:latin typeface="Verdana"/>
              <a:ea typeface="+mn-ea"/>
              <a:cs typeface="+mn-cs"/>
            </a:endParaRPr>
          </a:p>
        </p:txBody>
      </p:sp>
      <p:sp>
        <p:nvSpPr>
          <p:cNvPr id="27" name="TextBox 60">
            <a:extLst>
              <a:ext uri="{FF2B5EF4-FFF2-40B4-BE49-F238E27FC236}">
                <a16:creationId xmlns:a16="http://schemas.microsoft.com/office/drawing/2014/main" id="{BDBBFDC1-6245-88C8-2F8D-85F136A6633B}"/>
              </a:ext>
            </a:extLst>
          </p:cNvPr>
          <p:cNvSpPr txBox="1"/>
          <p:nvPr/>
        </p:nvSpPr>
        <p:spPr>
          <a:xfrm>
            <a:off x="8145528" y="4139228"/>
            <a:ext cx="1917276" cy="544380"/>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MD completement</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rPr>
              <a:t>CT develop</a:t>
            </a:r>
            <a:r>
              <a:rPr kumimoji="0" lang="en-US" altLang="zh-CN" sz="1200" b="1" i="0" u="none" strike="noStrike" kern="1200" cap="none" spc="0" normalizeH="0" baseline="0" noProof="0">
                <a:ln>
                  <a:noFill/>
                </a:ln>
                <a:solidFill>
                  <a:srgbClr val="23004C">
                    <a:lumMod val="90000"/>
                    <a:lumOff val="10000"/>
                  </a:srgbClr>
                </a:solidFill>
                <a:effectLst/>
                <a:uLnTx/>
                <a:uFillTx/>
                <a:latin typeface="Verdana"/>
                <a:ea typeface="+mn-ea"/>
                <a:cs typeface="+mn-cs"/>
              </a:rPr>
              <a:t>ment</a:t>
            </a:r>
            <a:endParaRPr kumimoji="0" lang="en-US" sz="1200" b="1" i="0" u="none" strike="noStrike" kern="1200" cap="none" spc="0" normalizeH="0" baseline="0" noProof="0">
              <a:ln>
                <a:noFill/>
              </a:ln>
              <a:solidFill>
                <a:srgbClr val="23004C">
                  <a:lumMod val="90000"/>
                  <a:lumOff val="10000"/>
                </a:srgbClr>
              </a:solidFill>
              <a:effectLst/>
              <a:uLnTx/>
              <a:uFillTx/>
              <a:latin typeface="Verdana"/>
              <a:ea typeface="+mn-ea"/>
              <a:cs typeface="+mn-cs"/>
            </a:endParaRPr>
          </a:p>
        </p:txBody>
      </p:sp>
      <p:sp>
        <p:nvSpPr>
          <p:cNvPr id="28" name="TextBox 61">
            <a:extLst>
              <a:ext uri="{FF2B5EF4-FFF2-40B4-BE49-F238E27FC236}">
                <a16:creationId xmlns:a16="http://schemas.microsoft.com/office/drawing/2014/main" id="{9632D215-BFF0-D0C2-67E0-BD7EE8950E93}"/>
              </a:ext>
            </a:extLst>
          </p:cNvPr>
          <p:cNvSpPr txBox="1"/>
          <p:nvPr/>
        </p:nvSpPr>
        <p:spPr>
          <a:xfrm>
            <a:off x="10537838" y="4197219"/>
            <a:ext cx="1438748" cy="304314"/>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3004C">
                    <a:lumMod val="90000"/>
                    <a:lumOff val="10000"/>
                  </a:srgbClr>
                </a:solidFill>
                <a:effectLst/>
                <a:uLnTx/>
                <a:uFillTx/>
                <a:latin typeface="Verdana"/>
                <a:ea typeface="+mn-ea"/>
                <a:cs typeface="+mn-cs"/>
              </a:rPr>
              <a:t>Programming</a:t>
            </a:r>
          </a:p>
        </p:txBody>
      </p:sp>
      <p:cxnSp>
        <p:nvCxnSpPr>
          <p:cNvPr id="29" name="Google Shape;721;p68">
            <a:extLst>
              <a:ext uri="{FF2B5EF4-FFF2-40B4-BE49-F238E27FC236}">
                <a16:creationId xmlns:a16="http://schemas.microsoft.com/office/drawing/2014/main" id="{8F12F138-F46A-2188-02B7-4032A68246D8}"/>
              </a:ext>
            </a:extLst>
          </p:cNvPr>
          <p:cNvCxnSpPr>
            <a:cxnSpLocks/>
          </p:cNvCxnSpPr>
          <p:nvPr/>
        </p:nvCxnSpPr>
        <p:spPr>
          <a:xfrm>
            <a:off x="7130627" y="1737137"/>
            <a:ext cx="0" cy="1567252"/>
          </a:xfrm>
          <a:prstGeom prst="straightConnector1">
            <a:avLst/>
          </a:prstGeom>
          <a:noFill/>
          <a:ln w="19050" cap="flat" cmpd="sng">
            <a:solidFill>
              <a:schemeClr val="accent6">
                <a:lumMod val="50000"/>
              </a:schemeClr>
            </a:solidFill>
            <a:prstDash val="solid"/>
            <a:round/>
            <a:headEnd type="diamond" w="med" len="med"/>
            <a:tailEnd type="none" w="med" len="med"/>
          </a:ln>
        </p:spPr>
      </p:cxnSp>
      <p:sp>
        <p:nvSpPr>
          <p:cNvPr id="30" name="Arc 76">
            <a:extLst>
              <a:ext uri="{FF2B5EF4-FFF2-40B4-BE49-F238E27FC236}">
                <a16:creationId xmlns:a16="http://schemas.microsoft.com/office/drawing/2014/main" id="{205CD3B6-AE80-CDDE-38C9-313406FB296E}"/>
              </a:ext>
            </a:extLst>
          </p:cNvPr>
          <p:cNvSpPr/>
          <p:nvPr/>
        </p:nvSpPr>
        <p:spPr>
          <a:xfrm rot="8933505" flipH="1">
            <a:off x="1877439" y="3565844"/>
            <a:ext cx="81663" cy="1849516"/>
          </a:xfrm>
          <a:custGeom>
            <a:avLst/>
            <a:gdLst>
              <a:gd name="connsiteX0" fmla="*/ 40831 w 81663"/>
              <a:gd name="connsiteY0" fmla="*/ 0 h 1849516"/>
              <a:gd name="connsiteX1" fmla="*/ 81663 w 81663"/>
              <a:gd name="connsiteY1" fmla="*/ 924758 h 1849516"/>
              <a:gd name="connsiteX2" fmla="*/ 40832 w 81663"/>
              <a:gd name="connsiteY2" fmla="*/ 924758 h 1849516"/>
              <a:gd name="connsiteX3" fmla="*/ 40831 w 81663"/>
              <a:gd name="connsiteY3" fmla="*/ 0 h 1849516"/>
              <a:gd name="connsiteX0" fmla="*/ 40831 w 81663"/>
              <a:gd name="connsiteY0" fmla="*/ 0 h 1849516"/>
              <a:gd name="connsiteX1" fmla="*/ 81663 w 81663"/>
              <a:gd name="connsiteY1" fmla="*/ 924758 h 1849516"/>
            </a:gdLst>
            <a:ahLst/>
            <a:cxnLst>
              <a:cxn ang="0">
                <a:pos x="connsiteX0" y="connsiteY0"/>
              </a:cxn>
              <a:cxn ang="0">
                <a:pos x="connsiteX1" y="connsiteY1"/>
              </a:cxn>
            </a:cxnLst>
            <a:rect l="l" t="t" r="r" b="b"/>
            <a:pathLst>
              <a:path w="81663" h="1849516" stroke="0" extrusionOk="0">
                <a:moveTo>
                  <a:pt x="40831" y="0"/>
                </a:moveTo>
                <a:cubicBezTo>
                  <a:pt x="49729" y="-4567"/>
                  <a:pt x="30960" y="337463"/>
                  <a:pt x="81663" y="924758"/>
                </a:cubicBezTo>
                <a:cubicBezTo>
                  <a:pt x="61587" y="928343"/>
                  <a:pt x="56056" y="922398"/>
                  <a:pt x="40832" y="924758"/>
                </a:cubicBezTo>
                <a:cubicBezTo>
                  <a:pt x="6308" y="604318"/>
                  <a:pt x="55593" y="311267"/>
                  <a:pt x="40831" y="0"/>
                </a:cubicBezTo>
                <a:close/>
              </a:path>
              <a:path w="81663" h="1849516" fill="none" extrusionOk="0">
                <a:moveTo>
                  <a:pt x="40831" y="0"/>
                </a:moveTo>
                <a:cubicBezTo>
                  <a:pt x="64022" y="20684"/>
                  <a:pt x="132592" y="398198"/>
                  <a:pt x="81663" y="924758"/>
                </a:cubicBezTo>
              </a:path>
              <a:path w="81663" h="1849516" fill="none" stroke="0" extrusionOk="0">
                <a:moveTo>
                  <a:pt x="40831" y="0"/>
                </a:moveTo>
                <a:cubicBezTo>
                  <a:pt x="70345" y="36041"/>
                  <a:pt x="184388" y="353538"/>
                  <a:pt x="81663" y="924758"/>
                </a:cubicBezTo>
              </a:path>
            </a:pathLst>
          </a:custGeom>
          <a:ln>
            <a:prstDash val="dashDot"/>
            <a:extLst>
              <a:ext uri="{C807C97D-BFC1-408E-A445-0C87EB9F89A2}">
                <ask:lineSketchStyleProps xmlns:ask="http://schemas.microsoft.com/office/drawing/2018/sketchyshapes" sd="1096620467">
                  <a:prstGeom prst="arc">
                    <a:avLst/>
                  </a:prstGeom>
                  <ask:type>
                    <ask:lineSketchScribbl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1" name="Arc 79">
            <a:extLst>
              <a:ext uri="{FF2B5EF4-FFF2-40B4-BE49-F238E27FC236}">
                <a16:creationId xmlns:a16="http://schemas.microsoft.com/office/drawing/2014/main" id="{942D84FF-DF19-4F00-FE65-A04FCAF5CA45}"/>
              </a:ext>
            </a:extLst>
          </p:cNvPr>
          <p:cNvSpPr/>
          <p:nvPr/>
        </p:nvSpPr>
        <p:spPr>
          <a:xfrm rot="8451566" flipH="1">
            <a:off x="1596682" y="4347198"/>
            <a:ext cx="168792" cy="1225348"/>
          </a:xfrm>
          <a:prstGeom prst="arc">
            <a:avLst/>
          </a:prstGeom>
          <a:ln>
            <a:prstDash val="dash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2" name="Arc 80">
            <a:extLst>
              <a:ext uri="{FF2B5EF4-FFF2-40B4-BE49-F238E27FC236}">
                <a16:creationId xmlns:a16="http://schemas.microsoft.com/office/drawing/2014/main" id="{FFFFFA9D-D206-3EC1-86BB-5730DB809B2A}"/>
              </a:ext>
            </a:extLst>
          </p:cNvPr>
          <p:cNvSpPr/>
          <p:nvPr/>
        </p:nvSpPr>
        <p:spPr>
          <a:xfrm rot="12972905" flipH="1">
            <a:off x="3064114" y="3290948"/>
            <a:ext cx="133449" cy="2158701"/>
          </a:xfrm>
          <a:prstGeom prst="arc">
            <a:avLst/>
          </a:prstGeom>
          <a:ln>
            <a:prstDash val="dash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3" name="Arc 84">
            <a:extLst>
              <a:ext uri="{FF2B5EF4-FFF2-40B4-BE49-F238E27FC236}">
                <a16:creationId xmlns:a16="http://schemas.microsoft.com/office/drawing/2014/main" id="{1CD5CD2C-2871-47AF-5489-40D28BC64D60}"/>
              </a:ext>
            </a:extLst>
          </p:cNvPr>
          <p:cNvSpPr/>
          <p:nvPr/>
        </p:nvSpPr>
        <p:spPr>
          <a:xfrm rot="12972905" flipH="1">
            <a:off x="3070120" y="3492274"/>
            <a:ext cx="133449" cy="2158701"/>
          </a:xfrm>
          <a:prstGeom prst="arc">
            <a:avLst/>
          </a:prstGeom>
          <a:ln>
            <a:prstDash val="dash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4" name="Freeform: Shape 92">
            <a:extLst>
              <a:ext uri="{FF2B5EF4-FFF2-40B4-BE49-F238E27FC236}">
                <a16:creationId xmlns:a16="http://schemas.microsoft.com/office/drawing/2014/main" id="{7025868C-9EC6-5B34-75F2-4D5A2B5FAA08}"/>
              </a:ext>
            </a:extLst>
          </p:cNvPr>
          <p:cNvSpPr/>
          <p:nvPr/>
        </p:nvSpPr>
        <p:spPr>
          <a:xfrm>
            <a:off x="3967524" y="4788399"/>
            <a:ext cx="1214704" cy="465613"/>
          </a:xfrm>
          <a:custGeom>
            <a:avLst/>
            <a:gdLst>
              <a:gd name="connsiteX0" fmla="*/ 0 w 1073051"/>
              <a:gd name="connsiteY0" fmla="*/ 0 h 378823"/>
              <a:gd name="connsiteX1" fmla="*/ 300446 w 1073051"/>
              <a:gd name="connsiteY1" fmla="*/ 39189 h 378823"/>
              <a:gd name="connsiteX2" fmla="*/ 391886 w 1073051"/>
              <a:gd name="connsiteY2" fmla="*/ 65315 h 378823"/>
              <a:gd name="connsiteX3" fmla="*/ 718457 w 1073051"/>
              <a:gd name="connsiteY3" fmla="*/ 130629 h 378823"/>
              <a:gd name="connsiteX4" fmla="*/ 953589 w 1073051"/>
              <a:gd name="connsiteY4" fmla="*/ 143692 h 378823"/>
              <a:gd name="connsiteX5" fmla="*/ 1005840 w 1073051"/>
              <a:gd name="connsiteY5" fmla="*/ 195943 h 378823"/>
              <a:gd name="connsiteX6" fmla="*/ 1071154 w 1073051"/>
              <a:gd name="connsiteY6" fmla="*/ 313509 h 378823"/>
              <a:gd name="connsiteX7" fmla="*/ 1071154 w 1073051"/>
              <a:gd name="connsiteY7" fmla="*/ 378823 h 3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051" h="378823">
                <a:moveTo>
                  <a:pt x="0" y="0"/>
                </a:moveTo>
                <a:cubicBezTo>
                  <a:pt x="100149" y="13063"/>
                  <a:pt x="200823" y="22585"/>
                  <a:pt x="300446" y="39189"/>
                </a:cubicBezTo>
                <a:cubicBezTo>
                  <a:pt x="331714" y="44400"/>
                  <a:pt x="361133" y="57627"/>
                  <a:pt x="391886" y="65315"/>
                </a:cubicBezTo>
                <a:cubicBezTo>
                  <a:pt x="480589" y="87491"/>
                  <a:pt x="625429" y="121326"/>
                  <a:pt x="718457" y="130629"/>
                </a:cubicBezTo>
                <a:cubicBezTo>
                  <a:pt x="796566" y="138440"/>
                  <a:pt x="875212" y="139338"/>
                  <a:pt x="953589" y="143692"/>
                </a:cubicBezTo>
                <a:cubicBezTo>
                  <a:pt x="971006" y="161109"/>
                  <a:pt x="989620" y="177406"/>
                  <a:pt x="1005840" y="195943"/>
                </a:cubicBezTo>
                <a:cubicBezTo>
                  <a:pt x="1035880" y="230275"/>
                  <a:pt x="1061949" y="267484"/>
                  <a:pt x="1071154" y="313509"/>
                </a:cubicBezTo>
                <a:cubicBezTo>
                  <a:pt x="1075424" y="334858"/>
                  <a:pt x="1071154" y="357052"/>
                  <a:pt x="1071154" y="378823"/>
                </a:cubicBezTo>
              </a:path>
            </a:pathLst>
          </a:custGeom>
          <a:ln>
            <a:prstDash val="dashDot"/>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Shape 93">
            <a:extLst>
              <a:ext uri="{FF2B5EF4-FFF2-40B4-BE49-F238E27FC236}">
                <a16:creationId xmlns:a16="http://schemas.microsoft.com/office/drawing/2014/main" id="{B6E2AA46-309C-4C2B-4815-02AE62D165AE}"/>
              </a:ext>
            </a:extLst>
          </p:cNvPr>
          <p:cNvSpPr/>
          <p:nvPr/>
        </p:nvSpPr>
        <p:spPr>
          <a:xfrm>
            <a:off x="7129405" y="4807908"/>
            <a:ext cx="1428811" cy="433042"/>
          </a:xfrm>
          <a:custGeom>
            <a:avLst/>
            <a:gdLst>
              <a:gd name="connsiteX0" fmla="*/ 0 w 1073051"/>
              <a:gd name="connsiteY0" fmla="*/ 0 h 378823"/>
              <a:gd name="connsiteX1" fmla="*/ 300446 w 1073051"/>
              <a:gd name="connsiteY1" fmla="*/ 39189 h 378823"/>
              <a:gd name="connsiteX2" fmla="*/ 391886 w 1073051"/>
              <a:gd name="connsiteY2" fmla="*/ 65315 h 378823"/>
              <a:gd name="connsiteX3" fmla="*/ 718457 w 1073051"/>
              <a:gd name="connsiteY3" fmla="*/ 130629 h 378823"/>
              <a:gd name="connsiteX4" fmla="*/ 953589 w 1073051"/>
              <a:gd name="connsiteY4" fmla="*/ 143692 h 378823"/>
              <a:gd name="connsiteX5" fmla="*/ 1005840 w 1073051"/>
              <a:gd name="connsiteY5" fmla="*/ 195943 h 378823"/>
              <a:gd name="connsiteX6" fmla="*/ 1071154 w 1073051"/>
              <a:gd name="connsiteY6" fmla="*/ 313509 h 378823"/>
              <a:gd name="connsiteX7" fmla="*/ 1071154 w 1073051"/>
              <a:gd name="connsiteY7" fmla="*/ 378823 h 37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051" h="378823">
                <a:moveTo>
                  <a:pt x="0" y="0"/>
                </a:moveTo>
                <a:cubicBezTo>
                  <a:pt x="100149" y="13063"/>
                  <a:pt x="200823" y="22585"/>
                  <a:pt x="300446" y="39189"/>
                </a:cubicBezTo>
                <a:cubicBezTo>
                  <a:pt x="331714" y="44400"/>
                  <a:pt x="361133" y="57627"/>
                  <a:pt x="391886" y="65315"/>
                </a:cubicBezTo>
                <a:cubicBezTo>
                  <a:pt x="480589" y="87491"/>
                  <a:pt x="625429" y="121326"/>
                  <a:pt x="718457" y="130629"/>
                </a:cubicBezTo>
                <a:cubicBezTo>
                  <a:pt x="796566" y="138440"/>
                  <a:pt x="875212" y="139338"/>
                  <a:pt x="953589" y="143692"/>
                </a:cubicBezTo>
                <a:cubicBezTo>
                  <a:pt x="971006" y="161109"/>
                  <a:pt x="989620" y="177406"/>
                  <a:pt x="1005840" y="195943"/>
                </a:cubicBezTo>
                <a:cubicBezTo>
                  <a:pt x="1035880" y="230275"/>
                  <a:pt x="1061949" y="267484"/>
                  <a:pt x="1071154" y="313509"/>
                </a:cubicBezTo>
                <a:cubicBezTo>
                  <a:pt x="1075424" y="334858"/>
                  <a:pt x="1071154" y="357052"/>
                  <a:pt x="1071154" y="378823"/>
                </a:cubicBezTo>
              </a:path>
            </a:pathLst>
          </a:custGeom>
          <a:ln>
            <a:prstDash val="dashDot"/>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6" name="Freeform: Shape 101">
            <a:extLst>
              <a:ext uri="{FF2B5EF4-FFF2-40B4-BE49-F238E27FC236}">
                <a16:creationId xmlns:a16="http://schemas.microsoft.com/office/drawing/2014/main" id="{3BB12D5D-0F3F-A46C-31D3-4F0D027ABBA8}"/>
              </a:ext>
            </a:extLst>
          </p:cNvPr>
          <p:cNvSpPr/>
          <p:nvPr/>
        </p:nvSpPr>
        <p:spPr>
          <a:xfrm>
            <a:off x="2808514" y="4364441"/>
            <a:ext cx="3082834" cy="1084217"/>
          </a:xfrm>
          <a:custGeom>
            <a:avLst/>
            <a:gdLst>
              <a:gd name="connsiteX0" fmla="*/ 3082834 w 3082834"/>
              <a:gd name="connsiteY0" fmla="*/ 0 h 1084217"/>
              <a:gd name="connsiteX1" fmla="*/ 2704011 w 3082834"/>
              <a:gd name="connsiteY1" fmla="*/ 104503 h 1084217"/>
              <a:gd name="connsiteX2" fmla="*/ 2651760 w 3082834"/>
              <a:gd name="connsiteY2" fmla="*/ 143691 h 1084217"/>
              <a:gd name="connsiteX3" fmla="*/ 2586445 w 3082834"/>
              <a:gd name="connsiteY3" fmla="*/ 222068 h 1084217"/>
              <a:gd name="connsiteX4" fmla="*/ 2534194 w 3082834"/>
              <a:gd name="connsiteY4" fmla="*/ 274320 h 1084217"/>
              <a:gd name="connsiteX5" fmla="*/ 2351314 w 3082834"/>
              <a:gd name="connsiteY5" fmla="*/ 339634 h 1084217"/>
              <a:gd name="connsiteX6" fmla="*/ 2155371 w 3082834"/>
              <a:gd name="connsiteY6" fmla="*/ 457200 h 1084217"/>
              <a:gd name="connsiteX7" fmla="*/ 2103120 w 3082834"/>
              <a:gd name="connsiteY7" fmla="*/ 483325 h 1084217"/>
              <a:gd name="connsiteX8" fmla="*/ 2063931 w 3082834"/>
              <a:gd name="connsiteY8" fmla="*/ 509451 h 1084217"/>
              <a:gd name="connsiteX9" fmla="*/ 2011680 w 3082834"/>
              <a:gd name="connsiteY9" fmla="*/ 522514 h 1084217"/>
              <a:gd name="connsiteX10" fmla="*/ 1881051 w 3082834"/>
              <a:gd name="connsiteY10" fmla="*/ 600891 h 1084217"/>
              <a:gd name="connsiteX11" fmla="*/ 1828800 w 3082834"/>
              <a:gd name="connsiteY11" fmla="*/ 653143 h 1084217"/>
              <a:gd name="connsiteX12" fmla="*/ 1802674 w 3082834"/>
              <a:gd name="connsiteY12" fmla="*/ 692331 h 1084217"/>
              <a:gd name="connsiteX13" fmla="*/ 1711234 w 3082834"/>
              <a:gd name="connsiteY13" fmla="*/ 757645 h 1084217"/>
              <a:gd name="connsiteX14" fmla="*/ 1658983 w 3082834"/>
              <a:gd name="connsiteY14" fmla="*/ 796834 h 1084217"/>
              <a:gd name="connsiteX15" fmla="*/ 1632857 w 3082834"/>
              <a:gd name="connsiteY15" fmla="*/ 836023 h 1084217"/>
              <a:gd name="connsiteX16" fmla="*/ 1554480 w 3082834"/>
              <a:gd name="connsiteY16" fmla="*/ 875211 h 1084217"/>
              <a:gd name="connsiteX17" fmla="*/ 1502228 w 3082834"/>
              <a:gd name="connsiteY17" fmla="*/ 888274 h 1084217"/>
              <a:gd name="connsiteX18" fmla="*/ 1214845 w 3082834"/>
              <a:gd name="connsiteY18" fmla="*/ 888274 h 1084217"/>
              <a:gd name="connsiteX19" fmla="*/ 1162594 w 3082834"/>
              <a:gd name="connsiteY19" fmla="*/ 914400 h 1084217"/>
              <a:gd name="connsiteX20" fmla="*/ 1097280 w 3082834"/>
              <a:gd name="connsiteY20" fmla="*/ 940525 h 1084217"/>
              <a:gd name="connsiteX21" fmla="*/ 1045028 w 3082834"/>
              <a:gd name="connsiteY21" fmla="*/ 953588 h 1084217"/>
              <a:gd name="connsiteX22" fmla="*/ 914400 w 3082834"/>
              <a:gd name="connsiteY22" fmla="*/ 992777 h 1084217"/>
              <a:gd name="connsiteX23" fmla="*/ 248194 w 3082834"/>
              <a:gd name="connsiteY23" fmla="*/ 979714 h 1084217"/>
              <a:gd name="connsiteX24" fmla="*/ 195943 w 3082834"/>
              <a:gd name="connsiteY24" fmla="*/ 1005840 h 1084217"/>
              <a:gd name="connsiteX25" fmla="*/ 143691 w 3082834"/>
              <a:gd name="connsiteY25" fmla="*/ 1018903 h 1084217"/>
              <a:gd name="connsiteX26" fmla="*/ 39188 w 3082834"/>
              <a:gd name="connsiteY26" fmla="*/ 1071154 h 1084217"/>
              <a:gd name="connsiteX27" fmla="*/ 0 w 3082834"/>
              <a:gd name="connsiteY27" fmla="*/ 1084217 h 10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82834" h="1084217">
                <a:moveTo>
                  <a:pt x="3082834" y="0"/>
                </a:moveTo>
                <a:cubicBezTo>
                  <a:pt x="2939231" y="28721"/>
                  <a:pt x="2899323" y="34749"/>
                  <a:pt x="2704011" y="104503"/>
                </a:cubicBezTo>
                <a:cubicBezTo>
                  <a:pt x="2683508" y="111825"/>
                  <a:pt x="2669177" y="130628"/>
                  <a:pt x="2651760" y="143691"/>
                </a:cubicBezTo>
                <a:cubicBezTo>
                  <a:pt x="2629458" y="210597"/>
                  <a:pt x="2653435" y="163452"/>
                  <a:pt x="2586445" y="222068"/>
                </a:cubicBezTo>
                <a:cubicBezTo>
                  <a:pt x="2567908" y="238288"/>
                  <a:pt x="2554975" y="261096"/>
                  <a:pt x="2534194" y="274320"/>
                </a:cubicBezTo>
                <a:cubicBezTo>
                  <a:pt x="2470350" y="314948"/>
                  <a:pt x="2420407" y="314958"/>
                  <a:pt x="2351314" y="339634"/>
                </a:cubicBezTo>
                <a:cubicBezTo>
                  <a:pt x="2110934" y="425485"/>
                  <a:pt x="2429419" y="320178"/>
                  <a:pt x="2155371" y="457200"/>
                </a:cubicBezTo>
                <a:cubicBezTo>
                  <a:pt x="2137954" y="465908"/>
                  <a:pt x="2120027" y="473664"/>
                  <a:pt x="2103120" y="483325"/>
                </a:cubicBezTo>
                <a:cubicBezTo>
                  <a:pt x="2089489" y="491114"/>
                  <a:pt x="2078361" y="503266"/>
                  <a:pt x="2063931" y="509451"/>
                </a:cubicBezTo>
                <a:cubicBezTo>
                  <a:pt x="2047430" y="516523"/>
                  <a:pt x="2028490" y="516210"/>
                  <a:pt x="2011680" y="522514"/>
                </a:cubicBezTo>
                <a:cubicBezTo>
                  <a:pt x="1978695" y="534883"/>
                  <a:pt x="1899280" y="582662"/>
                  <a:pt x="1881051" y="600891"/>
                </a:cubicBezTo>
                <a:cubicBezTo>
                  <a:pt x="1863634" y="618308"/>
                  <a:pt x="1844830" y="634441"/>
                  <a:pt x="1828800" y="653143"/>
                </a:cubicBezTo>
                <a:cubicBezTo>
                  <a:pt x="1818583" y="665063"/>
                  <a:pt x="1813775" y="681230"/>
                  <a:pt x="1802674" y="692331"/>
                </a:cubicBezTo>
                <a:cubicBezTo>
                  <a:pt x="1781318" y="713687"/>
                  <a:pt x="1737202" y="739096"/>
                  <a:pt x="1711234" y="757645"/>
                </a:cubicBezTo>
                <a:cubicBezTo>
                  <a:pt x="1693518" y="770299"/>
                  <a:pt x="1674378" y="781439"/>
                  <a:pt x="1658983" y="796834"/>
                </a:cubicBezTo>
                <a:cubicBezTo>
                  <a:pt x="1647882" y="807935"/>
                  <a:pt x="1643959" y="824922"/>
                  <a:pt x="1632857" y="836023"/>
                </a:cubicBezTo>
                <a:cubicBezTo>
                  <a:pt x="1609959" y="858921"/>
                  <a:pt x="1584226" y="866712"/>
                  <a:pt x="1554480" y="875211"/>
                </a:cubicBezTo>
                <a:cubicBezTo>
                  <a:pt x="1537217" y="880143"/>
                  <a:pt x="1519645" y="883920"/>
                  <a:pt x="1502228" y="888274"/>
                </a:cubicBezTo>
                <a:cubicBezTo>
                  <a:pt x="1382485" y="877388"/>
                  <a:pt x="1334588" y="864325"/>
                  <a:pt x="1214845" y="888274"/>
                </a:cubicBezTo>
                <a:cubicBezTo>
                  <a:pt x="1195750" y="892093"/>
                  <a:pt x="1180389" y="906491"/>
                  <a:pt x="1162594" y="914400"/>
                </a:cubicBezTo>
                <a:cubicBezTo>
                  <a:pt x="1141167" y="923923"/>
                  <a:pt x="1119525" y="933110"/>
                  <a:pt x="1097280" y="940525"/>
                </a:cubicBezTo>
                <a:cubicBezTo>
                  <a:pt x="1080248" y="946202"/>
                  <a:pt x="1062060" y="947911"/>
                  <a:pt x="1045028" y="953588"/>
                </a:cubicBezTo>
                <a:cubicBezTo>
                  <a:pt x="916133" y="996553"/>
                  <a:pt x="1043390" y="966979"/>
                  <a:pt x="914400" y="992777"/>
                </a:cubicBezTo>
                <a:cubicBezTo>
                  <a:pt x="690014" y="979178"/>
                  <a:pt x="471627" y="949245"/>
                  <a:pt x="248194" y="979714"/>
                </a:cubicBezTo>
                <a:cubicBezTo>
                  <a:pt x="228900" y="982345"/>
                  <a:pt x="214176" y="999003"/>
                  <a:pt x="195943" y="1005840"/>
                </a:cubicBezTo>
                <a:cubicBezTo>
                  <a:pt x="179133" y="1012144"/>
                  <a:pt x="160263" y="1011998"/>
                  <a:pt x="143691" y="1018903"/>
                </a:cubicBezTo>
                <a:cubicBezTo>
                  <a:pt x="107741" y="1033882"/>
                  <a:pt x="76135" y="1058838"/>
                  <a:pt x="39188" y="1071154"/>
                </a:cubicBezTo>
                <a:lnTo>
                  <a:pt x="0" y="1084217"/>
                </a:lnTo>
              </a:path>
            </a:pathLst>
          </a:custGeom>
          <a:noFill/>
          <a:ln>
            <a:solidFill>
              <a:srgbClr val="7030A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Freeform: Shape 103">
            <a:extLst>
              <a:ext uri="{FF2B5EF4-FFF2-40B4-BE49-F238E27FC236}">
                <a16:creationId xmlns:a16="http://schemas.microsoft.com/office/drawing/2014/main" id="{2C934E2C-E32B-D88B-0CE5-FB09F380423F}"/>
              </a:ext>
            </a:extLst>
          </p:cNvPr>
          <p:cNvSpPr/>
          <p:nvPr/>
        </p:nvSpPr>
        <p:spPr>
          <a:xfrm>
            <a:off x="2789864" y="4558508"/>
            <a:ext cx="3082834" cy="1084217"/>
          </a:xfrm>
          <a:custGeom>
            <a:avLst/>
            <a:gdLst>
              <a:gd name="connsiteX0" fmla="*/ 3082834 w 3082834"/>
              <a:gd name="connsiteY0" fmla="*/ 0 h 1084217"/>
              <a:gd name="connsiteX1" fmla="*/ 2704011 w 3082834"/>
              <a:gd name="connsiteY1" fmla="*/ 104503 h 1084217"/>
              <a:gd name="connsiteX2" fmla="*/ 2651760 w 3082834"/>
              <a:gd name="connsiteY2" fmla="*/ 143691 h 1084217"/>
              <a:gd name="connsiteX3" fmla="*/ 2586445 w 3082834"/>
              <a:gd name="connsiteY3" fmla="*/ 222068 h 1084217"/>
              <a:gd name="connsiteX4" fmla="*/ 2534194 w 3082834"/>
              <a:gd name="connsiteY4" fmla="*/ 274320 h 1084217"/>
              <a:gd name="connsiteX5" fmla="*/ 2351314 w 3082834"/>
              <a:gd name="connsiteY5" fmla="*/ 339634 h 1084217"/>
              <a:gd name="connsiteX6" fmla="*/ 2155371 w 3082834"/>
              <a:gd name="connsiteY6" fmla="*/ 457200 h 1084217"/>
              <a:gd name="connsiteX7" fmla="*/ 2103120 w 3082834"/>
              <a:gd name="connsiteY7" fmla="*/ 483325 h 1084217"/>
              <a:gd name="connsiteX8" fmla="*/ 2063931 w 3082834"/>
              <a:gd name="connsiteY8" fmla="*/ 509451 h 1084217"/>
              <a:gd name="connsiteX9" fmla="*/ 2011680 w 3082834"/>
              <a:gd name="connsiteY9" fmla="*/ 522514 h 1084217"/>
              <a:gd name="connsiteX10" fmla="*/ 1881051 w 3082834"/>
              <a:gd name="connsiteY10" fmla="*/ 600891 h 1084217"/>
              <a:gd name="connsiteX11" fmla="*/ 1828800 w 3082834"/>
              <a:gd name="connsiteY11" fmla="*/ 653143 h 1084217"/>
              <a:gd name="connsiteX12" fmla="*/ 1802674 w 3082834"/>
              <a:gd name="connsiteY12" fmla="*/ 692331 h 1084217"/>
              <a:gd name="connsiteX13" fmla="*/ 1711234 w 3082834"/>
              <a:gd name="connsiteY13" fmla="*/ 757645 h 1084217"/>
              <a:gd name="connsiteX14" fmla="*/ 1658983 w 3082834"/>
              <a:gd name="connsiteY14" fmla="*/ 796834 h 1084217"/>
              <a:gd name="connsiteX15" fmla="*/ 1632857 w 3082834"/>
              <a:gd name="connsiteY15" fmla="*/ 836023 h 1084217"/>
              <a:gd name="connsiteX16" fmla="*/ 1554480 w 3082834"/>
              <a:gd name="connsiteY16" fmla="*/ 875211 h 1084217"/>
              <a:gd name="connsiteX17" fmla="*/ 1502228 w 3082834"/>
              <a:gd name="connsiteY17" fmla="*/ 888274 h 1084217"/>
              <a:gd name="connsiteX18" fmla="*/ 1214845 w 3082834"/>
              <a:gd name="connsiteY18" fmla="*/ 888274 h 1084217"/>
              <a:gd name="connsiteX19" fmla="*/ 1162594 w 3082834"/>
              <a:gd name="connsiteY19" fmla="*/ 914400 h 1084217"/>
              <a:gd name="connsiteX20" fmla="*/ 1097280 w 3082834"/>
              <a:gd name="connsiteY20" fmla="*/ 940525 h 1084217"/>
              <a:gd name="connsiteX21" fmla="*/ 1045028 w 3082834"/>
              <a:gd name="connsiteY21" fmla="*/ 953588 h 1084217"/>
              <a:gd name="connsiteX22" fmla="*/ 914400 w 3082834"/>
              <a:gd name="connsiteY22" fmla="*/ 992777 h 1084217"/>
              <a:gd name="connsiteX23" fmla="*/ 248194 w 3082834"/>
              <a:gd name="connsiteY23" fmla="*/ 979714 h 1084217"/>
              <a:gd name="connsiteX24" fmla="*/ 195943 w 3082834"/>
              <a:gd name="connsiteY24" fmla="*/ 1005840 h 1084217"/>
              <a:gd name="connsiteX25" fmla="*/ 143691 w 3082834"/>
              <a:gd name="connsiteY25" fmla="*/ 1018903 h 1084217"/>
              <a:gd name="connsiteX26" fmla="*/ 39188 w 3082834"/>
              <a:gd name="connsiteY26" fmla="*/ 1071154 h 1084217"/>
              <a:gd name="connsiteX27" fmla="*/ 0 w 3082834"/>
              <a:gd name="connsiteY27" fmla="*/ 1084217 h 10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82834" h="1084217">
                <a:moveTo>
                  <a:pt x="3082834" y="0"/>
                </a:moveTo>
                <a:cubicBezTo>
                  <a:pt x="2939231" y="28721"/>
                  <a:pt x="2899323" y="34749"/>
                  <a:pt x="2704011" y="104503"/>
                </a:cubicBezTo>
                <a:cubicBezTo>
                  <a:pt x="2683508" y="111825"/>
                  <a:pt x="2669177" y="130628"/>
                  <a:pt x="2651760" y="143691"/>
                </a:cubicBezTo>
                <a:cubicBezTo>
                  <a:pt x="2629458" y="210597"/>
                  <a:pt x="2653435" y="163452"/>
                  <a:pt x="2586445" y="222068"/>
                </a:cubicBezTo>
                <a:cubicBezTo>
                  <a:pt x="2567908" y="238288"/>
                  <a:pt x="2554975" y="261096"/>
                  <a:pt x="2534194" y="274320"/>
                </a:cubicBezTo>
                <a:cubicBezTo>
                  <a:pt x="2470350" y="314948"/>
                  <a:pt x="2420407" y="314958"/>
                  <a:pt x="2351314" y="339634"/>
                </a:cubicBezTo>
                <a:cubicBezTo>
                  <a:pt x="2110934" y="425485"/>
                  <a:pt x="2429419" y="320178"/>
                  <a:pt x="2155371" y="457200"/>
                </a:cubicBezTo>
                <a:cubicBezTo>
                  <a:pt x="2137954" y="465908"/>
                  <a:pt x="2120027" y="473664"/>
                  <a:pt x="2103120" y="483325"/>
                </a:cubicBezTo>
                <a:cubicBezTo>
                  <a:pt x="2089489" y="491114"/>
                  <a:pt x="2078361" y="503266"/>
                  <a:pt x="2063931" y="509451"/>
                </a:cubicBezTo>
                <a:cubicBezTo>
                  <a:pt x="2047430" y="516523"/>
                  <a:pt x="2028490" y="516210"/>
                  <a:pt x="2011680" y="522514"/>
                </a:cubicBezTo>
                <a:cubicBezTo>
                  <a:pt x="1978695" y="534883"/>
                  <a:pt x="1899280" y="582662"/>
                  <a:pt x="1881051" y="600891"/>
                </a:cubicBezTo>
                <a:cubicBezTo>
                  <a:pt x="1863634" y="618308"/>
                  <a:pt x="1844830" y="634441"/>
                  <a:pt x="1828800" y="653143"/>
                </a:cubicBezTo>
                <a:cubicBezTo>
                  <a:pt x="1818583" y="665063"/>
                  <a:pt x="1813775" y="681230"/>
                  <a:pt x="1802674" y="692331"/>
                </a:cubicBezTo>
                <a:cubicBezTo>
                  <a:pt x="1781318" y="713687"/>
                  <a:pt x="1737202" y="739096"/>
                  <a:pt x="1711234" y="757645"/>
                </a:cubicBezTo>
                <a:cubicBezTo>
                  <a:pt x="1693518" y="770299"/>
                  <a:pt x="1674378" y="781439"/>
                  <a:pt x="1658983" y="796834"/>
                </a:cubicBezTo>
                <a:cubicBezTo>
                  <a:pt x="1647882" y="807935"/>
                  <a:pt x="1643959" y="824922"/>
                  <a:pt x="1632857" y="836023"/>
                </a:cubicBezTo>
                <a:cubicBezTo>
                  <a:pt x="1609959" y="858921"/>
                  <a:pt x="1584226" y="866712"/>
                  <a:pt x="1554480" y="875211"/>
                </a:cubicBezTo>
                <a:cubicBezTo>
                  <a:pt x="1537217" y="880143"/>
                  <a:pt x="1519645" y="883920"/>
                  <a:pt x="1502228" y="888274"/>
                </a:cubicBezTo>
                <a:cubicBezTo>
                  <a:pt x="1382485" y="877388"/>
                  <a:pt x="1334588" y="864325"/>
                  <a:pt x="1214845" y="888274"/>
                </a:cubicBezTo>
                <a:cubicBezTo>
                  <a:pt x="1195750" y="892093"/>
                  <a:pt x="1180389" y="906491"/>
                  <a:pt x="1162594" y="914400"/>
                </a:cubicBezTo>
                <a:cubicBezTo>
                  <a:pt x="1141167" y="923923"/>
                  <a:pt x="1119525" y="933110"/>
                  <a:pt x="1097280" y="940525"/>
                </a:cubicBezTo>
                <a:cubicBezTo>
                  <a:pt x="1080248" y="946202"/>
                  <a:pt x="1062060" y="947911"/>
                  <a:pt x="1045028" y="953588"/>
                </a:cubicBezTo>
                <a:cubicBezTo>
                  <a:pt x="916133" y="996553"/>
                  <a:pt x="1043390" y="966979"/>
                  <a:pt x="914400" y="992777"/>
                </a:cubicBezTo>
                <a:cubicBezTo>
                  <a:pt x="690014" y="979178"/>
                  <a:pt x="471627" y="949245"/>
                  <a:pt x="248194" y="979714"/>
                </a:cubicBezTo>
                <a:cubicBezTo>
                  <a:pt x="228900" y="982345"/>
                  <a:pt x="214176" y="999003"/>
                  <a:pt x="195943" y="1005840"/>
                </a:cubicBezTo>
                <a:cubicBezTo>
                  <a:pt x="179133" y="1012144"/>
                  <a:pt x="160263" y="1011998"/>
                  <a:pt x="143691" y="1018903"/>
                </a:cubicBezTo>
                <a:cubicBezTo>
                  <a:pt x="107741" y="1033882"/>
                  <a:pt x="76135" y="1058838"/>
                  <a:pt x="39188" y="1071154"/>
                </a:cubicBezTo>
                <a:lnTo>
                  <a:pt x="0" y="1084217"/>
                </a:lnTo>
              </a:path>
            </a:pathLst>
          </a:custGeom>
          <a:noFill/>
          <a:ln>
            <a:solidFill>
              <a:srgbClr val="7030A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Cloud 73">
            <a:extLst>
              <a:ext uri="{FF2B5EF4-FFF2-40B4-BE49-F238E27FC236}">
                <a16:creationId xmlns:a16="http://schemas.microsoft.com/office/drawing/2014/main" id="{7A8E7245-ADE2-DFB0-6663-24270E1EBDD0}"/>
              </a:ext>
            </a:extLst>
          </p:cNvPr>
          <p:cNvSpPr/>
          <p:nvPr/>
        </p:nvSpPr>
        <p:spPr>
          <a:xfrm>
            <a:off x="8344404" y="4846345"/>
            <a:ext cx="2770564" cy="1255220"/>
          </a:xfrm>
          <a:prstGeom prst="cloud">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Verdana"/>
                <a:ea typeface="+mn-ea"/>
                <a:cs typeface="+mn-cs"/>
              </a:rPr>
              <a:t>Programming issue</a:t>
            </a:r>
          </a:p>
        </p:txBody>
      </p:sp>
      <p:sp>
        <p:nvSpPr>
          <p:cNvPr id="39" name="Cloud 74">
            <a:extLst>
              <a:ext uri="{FF2B5EF4-FFF2-40B4-BE49-F238E27FC236}">
                <a16:creationId xmlns:a16="http://schemas.microsoft.com/office/drawing/2014/main" id="{AA6EDC2D-CE79-9614-272A-B962E81BFB35}"/>
              </a:ext>
            </a:extLst>
          </p:cNvPr>
          <p:cNvSpPr/>
          <p:nvPr/>
        </p:nvSpPr>
        <p:spPr>
          <a:xfrm>
            <a:off x="4690552" y="5065096"/>
            <a:ext cx="2254877" cy="1111265"/>
          </a:xfrm>
          <a:prstGeom prst="cloud">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Verdana"/>
                <a:ea typeface="+mn-ea"/>
                <a:cs typeface="+mn-cs"/>
              </a:rPr>
              <a:t>Mapping issue</a:t>
            </a:r>
          </a:p>
        </p:txBody>
      </p:sp>
      <p:sp>
        <p:nvSpPr>
          <p:cNvPr id="40" name="Cloud 72">
            <a:extLst>
              <a:ext uri="{FF2B5EF4-FFF2-40B4-BE49-F238E27FC236}">
                <a16:creationId xmlns:a16="http://schemas.microsoft.com/office/drawing/2014/main" id="{0730ADBE-7AF8-48E8-0B72-27007925C5D0}"/>
              </a:ext>
            </a:extLst>
          </p:cNvPr>
          <p:cNvSpPr/>
          <p:nvPr/>
        </p:nvSpPr>
        <p:spPr>
          <a:xfrm>
            <a:off x="460940" y="5065166"/>
            <a:ext cx="2452311" cy="1036399"/>
          </a:xfrm>
          <a:prstGeom prst="cloud">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Verdana"/>
                <a:ea typeface="+mn-ea"/>
                <a:cs typeface="+mn-cs"/>
              </a:rPr>
              <a:t>Data issue</a:t>
            </a:r>
          </a:p>
        </p:txBody>
      </p:sp>
      <p:sp>
        <p:nvSpPr>
          <p:cNvPr id="41" name="日期占位符 40">
            <a:extLst>
              <a:ext uri="{FF2B5EF4-FFF2-40B4-BE49-F238E27FC236}">
                <a16:creationId xmlns:a16="http://schemas.microsoft.com/office/drawing/2014/main" id="{DE64FF06-C6E9-700D-1A2E-44F86A33297A}"/>
              </a:ext>
            </a:extLst>
          </p:cNvPr>
          <p:cNvSpPr>
            <a:spLocks noGrp="1"/>
          </p:cNvSpPr>
          <p:nvPr>
            <p:ph type="dt" sz="half" idx="11"/>
          </p:nvPr>
        </p:nvSpPr>
        <p:spPr>
          <a:xfrm>
            <a:off x="4724400" y="6412120"/>
            <a:ext cx="2743200" cy="366183"/>
          </a:xfrm>
        </p:spPr>
        <p:txBody>
          <a:bodyPr/>
          <a:lstStyle/>
          <a:p>
            <a:r>
              <a:rPr lang="en-US" altLang="zh-CN" noProof="0" dirty="0"/>
              <a:t>28 . Mar . 2025</a:t>
            </a:r>
            <a:endParaRPr lang="en-US" noProof="0" dirty="0"/>
          </a:p>
        </p:txBody>
      </p:sp>
      <p:sp>
        <p:nvSpPr>
          <p:cNvPr id="43" name="灯片编号占位符 42">
            <a:extLst>
              <a:ext uri="{FF2B5EF4-FFF2-40B4-BE49-F238E27FC236}">
                <a16:creationId xmlns:a16="http://schemas.microsoft.com/office/drawing/2014/main" id="{EBA242E4-4E7C-9AD5-2CE0-3755FE838441}"/>
              </a:ext>
            </a:extLst>
          </p:cNvPr>
          <p:cNvSpPr>
            <a:spLocks noGrp="1"/>
          </p:cNvSpPr>
          <p:nvPr>
            <p:ph type="sldNum" sz="quarter" idx="12"/>
          </p:nvPr>
        </p:nvSpPr>
        <p:spPr/>
        <p:txBody>
          <a:bodyPr/>
          <a:lstStyle/>
          <a:p>
            <a:fld id="{6B54B0F7-55DD-40D6-B7F4-70B586885C0B}" type="slidenum">
              <a:rPr lang="en-US" smtClean="0"/>
              <a:pPr/>
              <a:t>6</a:t>
            </a:fld>
            <a:r>
              <a:rPr lang="en-US"/>
              <a:t>/37</a:t>
            </a:r>
            <a:endParaRPr lang="en-US" noProof="0" dirty="0"/>
          </a:p>
        </p:txBody>
      </p:sp>
    </p:spTree>
    <p:custDataLst>
      <p:tags r:id="rId1"/>
    </p:custDataLst>
    <p:extLst>
      <p:ext uri="{BB962C8B-B14F-4D97-AF65-F5344CB8AC3E}">
        <p14:creationId xmlns:p14="http://schemas.microsoft.com/office/powerpoint/2010/main" val="135831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ppt_x"/>
                                          </p:val>
                                        </p:tav>
                                        <p:tav tm="100000">
                                          <p:val>
                                            <p:strVal val="#ppt_x"/>
                                          </p:val>
                                        </p:tav>
                                      </p:tavLst>
                                    </p:anim>
                                    <p:anim calcmode="lin" valueType="num">
                                      <p:cBhvr additive="base">
                                        <p:cTn id="16" dur="500" fill="hold"/>
                                        <p:tgtEl>
                                          <p:spTgt spid="2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ppt_x"/>
                                          </p:val>
                                        </p:tav>
                                        <p:tav tm="100000">
                                          <p:val>
                                            <p:strVal val="#ppt_x"/>
                                          </p:val>
                                        </p:tav>
                                      </p:tavLst>
                                    </p:anim>
                                    <p:anim calcmode="lin" valueType="num">
                                      <p:cBhvr additive="base">
                                        <p:cTn id="24"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ppt_x"/>
                                          </p:val>
                                        </p:tav>
                                        <p:tav tm="100000">
                                          <p:val>
                                            <p:strVal val="#ppt_x"/>
                                          </p:val>
                                        </p:tav>
                                      </p:tavLst>
                                    </p:anim>
                                    <p:anim calcmode="lin" valueType="num">
                                      <p:cBhvr additive="base">
                                        <p:cTn id="30" dur="500" fill="hold"/>
                                        <p:tgtEl>
                                          <p:spTgt spid="7"/>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additive="base">
                                        <p:cTn id="33" dur="500" fill="hold"/>
                                        <p:tgtEl>
                                          <p:spTgt spid="13"/>
                                        </p:tgtEl>
                                        <p:attrNameLst>
                                          <p:attrName>ppt_x</p:attrName>
                                        </p:attrNameLst>
                                      </p:cBhvr>
                                      <p:tavLst>
                                        <p:tav tm="0">
                                          <p:val>
                                            <p:strVal val="#ppt_x"/>
                                          </p:val>
                                        </p:tav>
                                        <p:tav tm="100000">
                                          <p:val>
                                            <p:strVal val="#ppt_x"/>
                                          </p:val>
                                        </p:tav>
                                      </p:tavLst>
                                    </p:anim>
                                    <p:anim calcmode="lin" valueType="num">
                                      <p:cBhvr additive="base">
                                        <p:cTn id="34" dur="500" fill="hold"/>
                                        <p:tgtEl>
                                          <p:spTgt spid="13"/>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ppt_x"/>
                                          </p:val>
                                        </p:tav>
                                        <p:tav tm="100000">
                                          <p:val>
                                            <p:strVal val="#ppt_x"/>
                                          </p:val>
                                        </p:tav>
                                      </p:tavLst>
                                    </p:anim>
                                    <p:anim calcmode="lin" valueType="num">
                                      <p:cBhvr additive="base">
                                        <p:cTn id="42" dur="500" fill="hold"/>
                                        <p:tgtEl>
                                          <p:spTgt spid="19"/>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anim calcmode="lin" valueType="num">
                                      <p:cBhvr additive="base">
                                        <p:cTn id="45" dur="500" fill="hold"/>
                                        <p:tgtEl>
                                          <p:spTgt spid="23"/>
                                        </p:tgtEl>
                                        <p:attrNameLst>
                                          <p:attrName>ppt_x</p:attrName>
                                        </p:attrNameLst>
                                      </p:cBhvr>
                                      <p:tavLst>
                                        <p:tav tm="0">
                                          <p:val>
                                            <p:strVal val="#ppt_x"/>
                                          </p:val>
                                        </p:tav>
                                        <p:tav tm="100000">
                                          <p:val>
                                            <p:strVal val="#ppt_x"/>
                                          </p:val>
                                        </p:tav>
                                      </p:tavLst>
                                    </p:anim>
                                    <p:anim calcmode="lin" valueType="num">
                                      <p:cBhvr additive="base">
                                        <p:cTn id="46" dur="500" fill="hold"/>
                                        <p:tgtEl>
                                          <p:spTgt spid="23"/>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ppt_x"/>
                                          </p:val>
                                        </p:tav>
                                        <p:tav tm="100000">
                                          <p:val>
                                            <p:strVal val="#ppt_x"/>
                                          </p:val>
                                        </p:tav>
                                      </p:tavLst>
                                    </p:anim>
                                    <p:anim calcmode="lin" valueType="num">
                                      <p:cBhvr additive="base">
                                        <p:cTn id="50" dur="500" fill="hold"/>
                                        <p:tgtEl>
                                          <p:spTgt spid="24"/>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500" fill="hold"/>
                                        <p:tgtEl>
                                          <p:spTgt spid="25"/>
                                        </p:tgtEl>
                                        <p:attrNameLst>
                                          <p:attrName>ppt_x</p:attrName>
                                        </p:attrNameLst>
                                      </p:cBhvr>
                                      <p:tavLst>
                                        <p:tav tm="0">
                                          <p:val>
                                            <p:strVal val="#ppt_x"/>
                                          </p:val>
                                        </p:tav>
                                        <p:tav tm="100000">
                                          <p:val>
                                            <p:strVal val="#ppt_x"/>
                                          </p:val>
                                        </p:tav>
                                      </p:tavLst>
                                    </p:anim>
                                    <p:anim calcmode="lin" valueType="num">
                                      <p:cBhvr additive="base">
                                        <p:cTn id="54" dur="500" fill="hold"/>
                                        <p:tgtEl>
                                          <p:spTgt spid="25"/>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ppt_x"/>
                                          </p:val>
                                        </p:tav>
                                        <p:tav tm="100000">
                                          <p:val>
                                            <p:strVal val="#ppt_x"/>
                                          </p:val>
                                        </p:tav>
                                      </p:tavLst>
                                    </p:anim>
                                    <p:anim calcmode="lin" valueType="num">
                                      <p:cBhvr additive="base">
                                        <p:cTn id="58" dur="500" fill="hold"/>
                                        <p:tgtEl>
                                          <p:spTgt spid="26"/>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29"/>
                                        </p:tgtEl>
                                        <p:attrNameLst>
                                          <p:attrName>style.visibility</p:attrName>
                                        </p:attrNameLst>
                                      </p:cBhvr>
                                      <p:to>
                                        <p:strVal val="visible"/>
                                      </p:to>
                                    </p:set>
                                    <p:anim calcmode="lin" valueType="num">
                                      <p:cBhvr additive="base">
                                        <p:cTn id="61" dur="500" fill="hold"/>
                                        <p:tgtEl>
                                          <p:spTgt spid="29"/>
                                        </p:tgtEl>
                                        <p:attrNameLst>
                                          <p:attrName>ppt_x</p:attrName>
                                        </p:attrNameLst>
                                      </p:cBhvr>
                                      <p:tavLst>
                                        <p:tav tm="0">
                                          <p:val>
                                            <p:strVal val="#ppt_x"/>
                                          </p:val>
                                        </p:tav>
                                        <p:tav tm="100000">
                                          <p:val>
                                            <p:strVal val="#ppt_x"/>
                                          </p:val>
                                        </p:tav>
                                      </p:tavLst>
                                    </p:anim>
                                    <p:anim calcmode="lin" valueType="num">
                                      <p:cBhvr additive="base">
                                        <p:cTn id="6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40"/>
                                        </p:tgtEl>
                                        <p:attrNameLst>
                                          <p:attrName>style.visibility</p:attrName>
                                        </p:attrNameLst>
                                      </p:cBhvr>
                                      <p:to>
                                        <p:strVal val="visible"/>
                                      </p:to>
                                    </p:set>
                                    <p:anim calcmode="lin" valueType="num">
                                      <p:cBhvr additive="base">
                                        <p:cTn id="67" dur="500" fill="hold"/>
                                        <p:tgtEl>
                                          <p:spTgt spid="40"/>
                                        </p:tgtEl>
                                        <p:attrNameLst>
                                          <p:attrName>ppt_x</p:attrName>
                                        </p:attrNameLst>
                                      </p:cBhvr>
                                      <p:tavLst>
                                        <p:tav tm="0">
                                          <p:val>
                                            <p:strVal val="#ppt_x"/>
                                          </p:val>
                                        </p:tav>
                                        <p:tav tm="100000">
                                          <p:val>
                                            <p:strVal val="#ppt_x"/>
                                          </p:val>
                                        </p:tav>
                                      </p:tavLst>
                                    </p:anim>
                                    <p:anim calcmode="lin" valueType="num">
                                      <p:cBhvr additive="base">
                                        <p:cTn id="68" dur="500" fill="hold"/>
                                        <p:tgtEl>
                                          <p:spTgt spid="40"/>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 calcmode="lin" valueType="num">
                                      <p:cBhvr additive="base">
                                        <p:cTn id="71" dur="500" fill="hold"/>
                                        <p:tgtEl>
                                          <p:spTgt spid="31"/>
                                        </p:tgtEl>
                                        <p:attrNameLst>
                                          <p:attrName>ppt_x</p:attrName>
                                        </p:attrNameLst>
                                      </p:cBhvr>
                                      <p:tavLst>
                                        <p:tav tm="0">
                                          <p:val>
                                            <p:strVal val="#ppt_x"/>
                                          </p:val>
                                        </p:tav>
                                        <p:tav tm="100000">
                                          <p:val>
                                            <p:strVal val="#ppt_x"/>
                                          </p:val>
                                        </p:tav>
                                      </p:tavLst>
                                    </p:anim>
                                    <p:anim calcmode="lin" valueType="num">
                                      <p:cBhvr additive="base">
                                        <p:cTn id="72" dur="500" fill="hold"/>
                                        <p:tgtEl>
                                          <p:spTgt spid="31"/>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 calcmode="lin" valueType="num">
                                      <p:cBhvr additive="base">
                                        <p:cTn id="75" dur="500" fill="hold"/>
                                        <p:tgtEl>
                                          <p:spTgt spid="30"/>
                                        </p:tgtEl>
                                        <p:attrNameLst>
                                          <p:attrName>ppt_x</p:attrName>
                                        </p:attrNameLst>
                                      </p:cBhvr>
                                      <p:tavLst>
                                        <p:tav tm="0">
                                          <p:val>
                                            <p:strVal val="#ppt_x"/>
                                          </p:val>
                                        </p:tav>
                                        <p:tav tm="100000">
                                          <p:val>
                                            <p:strVal val="#ppt_x"/>
                                          </p:val>
                                        </p:tav>
                                      </p:tavLst>
                                    </p:anim>
                                    <p:anim calcmode="lin" valueType="num">
                                      <p:cBhvr additive="base">
                                        <p:cTn id="76" dur="500" fill="hold"/>
                                        <p:tgtEl>
                                          <p:spTgt spid="3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
                                        </p:tgtEl>
                                        <p:attrNameLst>
                                          <p:attrName>style.visibility</p:attrName>
                                        </p:attrNameLst>
                                      </p:cBhvr>
                                      <p:to>
                                        <p:strVal val="visible"/>
                                      </p:to>
                                    </p:set>
                                    <p:anim calcmode="lin" valueType="num">
                                      <p:cBhvr additive="base">
                                        <p:cTn id="79" dur="500" fill="hold"/>
                                        <p:tgtEl>
                                          <p:spTgt spid="2"/>
                                        </p:tgtEl>
                                        <p:attrNameLst>
                                          <p:attrName>ppt_x</p:attrName>
                                        </p:attrNameLst>
                                      </p:cBhvr>
                                      <p:tavLst>
                                        <p:tav tm="0">
                                          <p:val>
                                            <p:strVal val="#ppt_x"/>
                                          </p:val>
                                        </p:tav>
                                        <p:tav tm="100000">
                                          <p:val>
                                            <p:strVal val="#ppt_x"/>
                                          </p:val>
                                        </p:tav>
                                      </p:tavLst>
                                    </p:anim>
                                    <p:anim calcmode="lin" valueType="num">
                                      <p:cBhvr additive="base">
                                        <p:cTn id="80" dur="500" fill="hold"/>
                                        <p:tgtEl>
                                          <p:spTgt spid="2"/>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32"/>
                                        </p:tgtEl>
                                        <p:attrNameLst>
                                          <p:attrName>style.visibility</p:attrName>
                                        </p:attrNameLst>
                                      </p:cBhvr>
                                      <p:to>
                                        <p:strVal val="visible"/>
                                      </p:to>
                                    </p:set>
                                    <p:anim calcmode="lin" valueType="num">
                                      <p:cBhvr additive="base">
                                        <p:cTn id="83" dur="500" fill="hold"/>
                                        <p:tgtEl>
                                          <p:spTgt spid="32"/>
                                        </p:tgtEl>
                                        <p:attrNameLst>
                                          <p:attrName>ppt_x</p:attrName>
                                        </p:attrNameLst>
                                      </p:cBhvr>
                                      <p:tavLst>
                                        <p:tav tm="0">
                                          <p:val>
                                            <p:strVal val="#ppt_x"/>
                                          </p:val>
                                        </p:tav>
                                        <p:tav tm="100000">
                                          <p:val>
                                            <p:strVal val="#ppt_x"/>
                                          </p:val>
                                        </p:tav>
                                      </p:tavLst>
                                    </p:anim>
                                    <p:anim calcmode="lin" valueType="num">
                                      <p:cBhvr additive="base">
                                        <p:cTn id="84" dur="500" fill="hold"/>
                                        <p:tgtEl>
                                          <p:spTgt spid="3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33"/>
                                        </p:tgtEl>
                                        <p:attrNameLst>
                                          <p:attrName>style.visibility</p:attrName>
                                        </p:attrNameLst>
                                      </p:cBhvr>
                                      <p:to>
                                        <p:strVal val="visible"/>
                                      </p:to>
                                    </p:set>
                                    <p:anim calcmode="lin" valueType="num">
                                      <p:cBhvr additive="base">
                                        <p:cTn id="87" dur="500" fill="hold"/>
                                        <p:tgtEl>
                                          <p:spTgt spid="33"/>
                                        </p:tgtEl>
                                        <p:attrNameLst>
                                          <p:attrName>ppt_x</p:attrName>
                                        </p:attrNameLst>
                                      </p:cBhvr>
                                      <p:tavLst>
                                        <p:tav tm="0">
                                          <p:val>
                                            <p:strVal val="#ppt_x"/>
                                          </p:val>
                                        </p:tav>
                                        <p:tav tm="100000">
                                          <p:val>
                                            <p:strVal val="#ppt_x"/>
                                          </p:val>
                                        </p:tav>
                                      </p:tavLst>
                                    </p:anim>
                                    <p:anim calcmode="lin" valueType="num">
                                      <p:cBhvr additive="base">
                                        <p:cTn id="8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39"/>
                                        </p:tgtEl>
                                        <p:attrNameLst>
                                          <p:attrName>style.visibility</p:attrName>
                                        </p:attrNameLst>
                                      </p:cBhvr>
                                      <p:to>
                                        <p:strVal val="visible"/>
                                      </p:to>
                                    </p:set>
                                    <p:anim calcmode="lin" valueType="num">
                                      <p:cBhvr additive="base">
                                        <p:cTn id="93" dur="500" fill="hold"/>
                                        <p:tgtEl>
                                          <p:spTgt spid="39"/>
                                        </p:tgtEl>
                                        <p:attrNameLst>
                                          <p:attrName>ppt_x</p:attrName>
                                        </p:attrNameLst>
                                      </p:cBhvr>
                                      <p:tavLst>
                                        <p:tav tm="0">
                                          <p:val>
                                            <p:strVal val="#ppt_x"/>
                                          </p:val>
                                        </p:tav>
                                        <p:tav tm="100000">
                                          <p:val>
                                            <p:strVal val="#ppt_x"/>
                                          </p:val>
                                        </p:tav>
                                      </p:tavLst>
                                    </p:anim>
                                    <p:anim calcmode="lin" valueType="num">
                                      <p:cBhvr additive="base">
                                        <p:cTn id="94" dur="500" fill="hold"/>
                                        <p:tgtEl>
                                          <p:spTgt spid="39"/>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4"/>
                                        </p:tgtEl>
                                        <p:attrNameLst>
                                          <p:attrName>style.visibility</p:attrName>
                                        </p:attrNameLst>
                                      </p:cBhvr>
                                      <p:to>
                                        <p:strVal val="visible"/>
                                      </p:to>
                                    </p:set>
                                    <p:anim calcmode="lin" valueType="num">
                                      <p:cBhvr additive="base">
                                        <p:cTn id="97" dur="500" fill="hold"/>
                                        <p:tgtEl>
                                          <p:spTgt spid="4"/>
                                        </p:tgtEl>
                                        <p:attrNameLst>
                                          <p:attrName>ppt_x</p:attrName>
                                        </p:attrNameLst>
                                      </p:cBhvr>
                                      <p:tavLst>
                                        <p:tav tm="0">
                                          <p:val>
                                            <p:strVal val="#ppt_x"/>
                                          </p:val>
                                        </p:tav>
                                        <p:tav tm="100000">
                                          <p:val>
                                            <p:strVal val="#ppt_x"/>
                                          </p:val>
                                        </p:tav>
                                      </p:tavLst>
                                    </p:anim>
                                    <p:anim calcmode="lin" valueType="num">
                                      <p:cBhvr additive="base">
                                        <p:cTn id="98" dur="500" fill="hold"/>
                                        <p:tgtEl>
                                          <p:spTgt spid="4"/>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35"/>
                                        </p:tgtEl>
                                        <p:attrNameLst>
                                          <p:attrName>style.visibility</p:attrName>
                                        </p:attrNameLst>
                                      </p:cBhvr>
                                      <p:to>
                                        <p:strVal val="visible"/>
                                      </p:to>
                                    </p:set>
                                    <p:anim calcmode="lin" valueType="num">
                                      <p:cBhvr additive="base">
                                        <p:cTn id="101" dur="500" fill="hold"/>
                                        <p:tgtEl>
                                          <p:spTgt spid="35"/>
                                        </p:tgtEl>
                                        <p:attrNameLst>
                                          <p:attrName>ppt_x</p:attrName>
                                        </p:attrNameLst>
                                      </p:cBhvr>
                                      <p:tavLst>
                                        <p:tav tm="0">
                                          <p:val>
                                            <p:strVal val="#ppt_x"/>
                                          </p:val>
                                        </p:tav>
                                        <p:tav tm="100000">
                                          <p:val>
                                            <p:strVal val="#ppt_x"/>
                                          </p:val>
                                        </p:tav>
                                      </p:tavLst>
                                    </p:anim>
                                    <p:anim calcmode="lin" valueType="num">
                                      <p:cBhvr additive="base">
                                        <p:cTn id="102" dur="500" fill="hold"/>
                                        <p:tgtEl>
                                          <p:spTgt spid="35"/>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5"/>
                                        </p:tgtEl>
                                        <p:attrNameLst>
                                          <p:attrName>style.visibility</p:attrName>
                                        </p:attrNameLst>
                                      </p:cBhvr>
                                      <p:to>
                                        <p:strVal val="visible"/>
                                      </p:to>
                                    </p:set>
                                    <p:anim calcmode="lin" valueType="num">
                                      <p:cBhvr additive="base">
                                        <p:cTn id="105" dur="500" fill="hold"/>
                                        <p:tgtEl>
                                          <p:spTgt spid="5"/>
                                        </p:tgtEl>
                                        <p:attrNameLst>
                                          <p:attrName>ppt_x</p:attrName>
                                        </p:attrNameLst>
                                      </p:cBhvr>
                                      <p:tavLst>
                                        <p:tav tm="0">
                                          <p:val>
                                            <p:strVal val="#ppt_x"/>
                                          </p:val>
                                        </p:tav>
                                        <p:tav tm="100000">
                                          <p:val>
                                            <p:strVal val="#ppt_x"/>
                                          </p:val>
                                        </p:tav>
                                      </p:tavLst>
                                    </p:anim>
                                    <p:anim calcmode="lin" valueType="num">
                                      <p:cBhvr additive="base">
                                        <p:cTn id="106" dur="500" fill="hold"/>
                                        <p:tgtEl>
                                          <p:spTgt spid="5"/>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0"/>
                                  </p:stCondLst>
                                  <p:childTnLst>
                                    <p:set>
                                      <p:cBhvr>
                                        <p:cTn id="108" dur="1" fill="hold">
                                          <p:stCondLst>
                                            <p:cond delay="0"/>
                                          </p:stCondLst>
                                        </p:cTn>
                                        <p:tgtEl>
                                          <p:spTgt spid="38"/>
                                        </p:tgtEl>
                                        <p:attrNameLst>
                                          <p:attrName>style.visibility</p:attrName>
                                        </p:attrNameLst>
                                      </p:cBhvr>
                                      <p:to>
                                        <p:strVal val="visible"/>
                                      </p:to>
                                    </p:set>
                                    <p:anim calcmode="lin" valueType="num">
                                      <p:cBhvr additive="base">
                                        <p:cTn id="109" dur="500" fill="hold"/>
                                        <p:tgtEl>
                                          <p:spTgt spid="38"/>
                                        </p:tgtEl>
                                        <p:attrNameLst>
                                          <p:attrName>ppt_x</p:attrName>
                                        </p:attrNameLst>
                                      </p:cBhvr>
                                      <p:tavLst>
                                        <p:tav tm="0">
                                          <p:val>
                                            <p:strVal val="#ppt_x"/>
                                          </p:val>
                                        </p:tav>
                                        <p:tav tm="100000">
                                          <p:val>
                                            <p:strVal val="#ppt_x"/>
                                          </p:val>
                                        </p:tav>
                                      </p:tavLst>
                                    </p:anim>
                                    <p:anim calcmode="lin" valueType="num">
                                      <p:cBhvr additive="base">
                                        <p:cTn id="110" dur="500" fill="hold"/>
                                        <p:tgtEl>
                                          <p:spTgt spid="38"/>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6"/>
                                        </p:tgtEl>
                                        <p:attrNameLst>
                                          <p:attrName>style.visibility</p:attrName>
                                        </p:attrNameLst>
                                      </p:cBhvr>
                                      <p:to>
                                        <p:strVal val="visible"/>
                                      </p:to>
                                    </p:set>
                                    <p:anim calcmode="lin" valueType="num">
                                      <p:cBhvr additive="base">
                                        <p:cTn id="113" dur="500" fill="hold"/>
                                        <p:tgtEl>
                                          <p:spTgt spid="6"/>
                                        </p:tgtEl>
                                        <p:attrNameLst>
                                          <p:attrName>ppt_x</p:attrName>
                                        </p:attrNameLst>
                                      </p:cBhvr>
                                      <p:tavLst>
                                        <p:tav tm="0">
                                          <p:val>
                                            <p:strVal val="#ppt_x"/>
                                          </p:val>
                                        </p:tav>
                                        <p:tav tm="100000">
                                          <p:val>
                                            <p:strVal val="#ppt_x"/>
                                          </p:val>
                                        </p:tav>
                                      </p:tavLst>
                                    </p:anim>
                                    <p:anim calcmode="lin" valueType="num">
                                      <p:cBhvr additive="base">
                                        <p:cTn id="114" dur="500" fill="hold"/>
                                        <p:tgtEl>
                                          <p:spTgt spid="6"/>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36"/>
                                        </p:tgtEl>
                                        <p:attrNameLst>
                                          <p:attrName>style.visibility</p:attrName>
                                        </p:attrNameLst>
                                      </p:cBhvr>
                                      <p:to>
                                        <p:strVal val="visible"/>
                                      </p:to>
                                    </p:set>
                                    <p:anim calcmode="lin" valueType="num">
                                      <p:cBhvr additive="base">
                                        <p:cTn id="117" dur="500" fill="hold"/>
                                        <p:tgtEl>
                                          <p:spTgt spid="36"/>
                                        </p:tgtEl>
                                        <p:attrNameLst>
                                          <p:attrName>ppt_x</p:attrName>
                                        </p:attrNameLst>
                                      </p:cBhvr>
                                      <p:tavLst>
                                        <p:tav tm="0">
                                          <p:val>
                                            <p:strVal val="#ppt_x"/>
                                          </p:val>
                                        </p:tav>
                                        <p:tav tm="100000">
                                          <p:val>
                                            <p:strVal val="#ppt_x"/>
                                          </p:val>
                                        </p:tav>
                                      </p:tavLst>
                                    </p:anim>
                                    <p:anim calcmode="lin" valueType="num">
                                      <p:cBhvr additive="base">
                                        <p:cTn id="118" dur="500" fill="hold"/>
                                        <p:tgtEl>
                                          <p:spTgt spid="36"/>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37"/>
                                        </p:tgtEl>
                                        <p:attrNameLst>
                                          <p:attrName>style.visibility</p:attrName>
                                        </p:attrNameLst>
                                      </p:cBhvr>
                                      <p:to>
                                        <p:strVal val="visible"/>
                                      </p:to>
                                    </p:set>
                                    <p:anim calcmode="lin" valueType="num">
                                      <p:cBhvr additive="base">
                                        <p:cTn id="121" dur="500" fill="hold"/>
                                        <p:tgtEl>
                                          <p:spTgt spid="37"/>
                                        </p:tgtEl>
                                        <p:attrNameLst>
                                          <p:attrName>ppt_x</p:attrName>
                                        </p:attrNameLst>
                                      </p:cBhvr>
                                      <p:tavLst>
                                        <p:tav tm="0">
                                          <p:val>
                                            <p:strVal val="#ppt_x"/>
                                          </p:val>
                                        </p:tav>
                                        <p:tav tm="100000">
                                          <p:val>
                                            <p:strVal val="#ppt_x"/>
                                          </p:val>
                                        </p:tav>
                                      </p:tavLst>
                                    </p:anim>
                                    <p:anim calcmode="lin" valueType="num">
                                      <p:cBhvr additive="base">
                                        <p:cTn id="122" dur="500" fill="hold"/>
                                        <p:tgtEl>
                                          <p:spTgt spid="37"/>
                                        </p:tgtEl>
                                        <p:attrNameLst>
                                          <p:attrName>ppt_y</p:attrName>
                                        </p:attrNameLst>
                                      </p:cBhvr>
                                      <p:tavLst>
                                        <p:tav tm="0">
                                          <p:val>
                                            <p:strVal val="1+#ppt_h/2"/>
                                          </p:val>
                                        </p:tav>
                                        <p:tav tm="100000">
                                          <p:val>
                                            <p:strVal val="#ppt_y"/>
                                          </p:val>
                                        </p:tav>
                                      </p:tavLst>
                                    </p:anim>
                                  </p:childTnLst>
                                </p:cTn>
                              </p:par>
                              <p:par>
                                <p:cTn id="123" presetID="2" presetClass="entr" presetSubtype="4" fill="hold" grpId="0" nodeType="withEffect">
                                  <p:stCondLst>
                                    <p:cond delay="0"/>
                                  </p:stCondLst>
                                  <p:childTnLst>
                                    <p:set>
                                      <p:cBhvr>
                                        <p:cTn id="124" dur="1" fill="hold">
                                          <p:stCondLst>
                                            <p:cond delay="0"/>
                                          </p:stCondLst>
                                        </p:cTn>
                                        <p:tgtEl>
                                          <p:spTgt spid="34"/>
                                        </p:tgtEl>
                                        <p:attrNameLst>
                                          <p:attrName>style.visibility</p:attrName>
                                        </p:attrNameLst>
                                      </p:cBhvr>
                                      <p:to>
                                        <p:strVal val="visible"/>
                                      </p:to>
                                    </p:set>
                                    <p:anim calcmode="lin" valueType="num">
                                      <p:cBhvr additive="base">
                                        <p:cTn id="125" dur="500" fill="hold"/>
                                        <p:tgtEl>
                                          <p:spTgt spid="34"/>
                                        </p:tgtEl>
                                        <p:attrNameLst>
                                          <p:attrName>ppt_x</p:attrName>
                                        </p:attrNameLst>
                                      </p:cBhvr>
                                      <p:tavLst>
                                        <p:tav tm="0">
                                          <p:val>
                                            <p:strVal val="#ppt_x"/>
                                          </p:val>
                                        </p:tav>
                                        <p:tav tm="100000">
                                          <p:val>
                                            <p:strVal val="#ppt_x"/>
                                          </p:val>
                                        </p:tav>
                                      </p:tavLst>
                                    </p:anim>
                                    <p:anim calcmode="lin" valueType="num">
                                      <p:cBhvr additive="base">
                                        <p:cTn id="12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10" grpId="0"/>
      <p:bldP spid="13" grpId="0" animBg="1"/>
      <p:bldP spid="21" grpId="0"/>
      <p:bldP spid="22" grpId="0"/>
      <p:bldP spid="23" grpId="0" animBg="1"/>
      <p:bldP spid="24" grpId="0" animBg="1"/>
      <p:bldP spid="25" grpId="0" animBg="1"/>
      <p:bldP spid="26" grpId="0" animBg="1"/>
      <p:bldP spid="27" grpId="0"/>
      <p:bldP spid="28" grpId="0"/>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2733FB89-AEB3-5E93-A4D4-71FCDE2D9E9F}"/>
              </a:ext>
            </a:extLst>
          </p:cNvPr>
          <p:cNvSpPr txBox="1"/>
          <p:nvPr/>
        </p:nvSpPr>
        <p:spPr>
          <a:xfrm>
            <a:off x="512064" y="1051560"/>
            <a:ext cx="69677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Shortcoming and Challenge</a:t>
            </a:r>
            <a:endParaRPr kumimoji="0" lang="zh-CN" altLang="en-US"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文本框 3">
            <a:extLst>
              <a:ext uri="{FF2B5EF4-FFF2-40B4-BE49-F238E27FC236}">
                <a16:creationId xmlns:a16="http://schemas.microsoft.com/office/drawing/2014/main" id="{2BB29E21-F94B-610C-7DC1-EEE97761DD05}"/>
              </a:ext>
            </a:extLst>
          </p:cNvPr>
          <p:cNvSpPr txBox="1"/>
          <p:nvPr/>
        </p:nvSpPr>
        <p:spPr>
          <a:xfrm>
            <a:off x="886968" y="1869033"/>
            <a:ext cx="109453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 The classification of issues is not clear, and the responsible personnel are not identified</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6" name="图片 5">
            <a:extLst>
              <a:ext uri="{FF2B5EF4-FFF2-40B4-BE49-F238E27FC236}">
                <a16:creationId xmlns:a16="http://schemas.microsoft.com/office/drawing/2014/main" id="{AAF9B9B8-24BA-2BBA-26D7-14AC78C4A53B}"/>
              </a:ext>
            </a:extLst>
          </p:cNvPr>
          <p:cNvPicPr>
            <a:picLocks noChangeAspect="1"/>
          </p:cNvPicPr>
          <p:nvPr/>
        </p:nvPicPr>
        <p:blipFill>
          <a:blip r:embed="rId4"/>
          <a:srcRect b="23765"/>
          <a:stretch/>
        </p:blipFill>
        <p:spPr>
          <a:xfrm>
            <a:off x="1970453" y="2407460"/>
            <a:ext cx="7995061" cy="2338276"/>
          </a:xfrm>
          <a:prstGeom prst="rect">
            <a:avLst/>
          </a:prstGeom>
        </p:spPr>
      </p:pic>
      <p:sp>
        <p:nvSpPr>
          <p:cNvPr id="7" name="文本框 6">
            <a:extLst>
              <a:ext uri="{FF2B5EF4-FFF2-40B4-BE49-F238E27FC236}">
                <a16:creationId xmlns:a16="http://schemas.microsoft.com/office/drawing/2014/main" id="{E70105CE-F097-FB60-3B11-308D1C3AAF7C}"/>
              </a:ext>
            </a:extLst>
          </p:cNvPr>
          <p:cNvSpPr txBox="1"/>
          <p:nvPr/>
        </p:nvSpPr>
        <p:spPr>
          <a:xfrm>
            <a:off x="886968" y="5148072"/>
            <a:ext cx="1078992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latin typeface="-apple-system"/>
              </a:rPr>
              <a:t>P21 only presents the information and number of issues within each domain dataset without the ability to specifically categorize them into whether they are </a:t>
            </a:r>
            <a:r>
              <a:rPr kumimoji="0" lang="en-US" altLang="zh-CN" b="0" i="0" u="none" strike="noStrike" kern="1200" cap="none" spc="0" normalizeH="0" baseline="0" noProof="0" dirty="0">
                <a:ln>
                  <a:noFill/>
                </a:ln>
                <a:solidFill>
                  <a:srgbClr val="C00000"/>
                </a:solidFill>
                <a:effectLst/>
                <a:uLnTx/>
                <a:uFillTx/>
                <a:latin typeface="-apple-system"/>
              </a:rPr>
              <a:t>data issues</a:t>
            </a:r>
            <a:r>
              <a:rPr kumimoji="0" lang="en-US" altLang="zh-CN" b="0" i="0" u="none" strike="noStrike" kern="1200" cap="none" spc="0" normalizeH="0" baseline="0" noProof="0" dirty="0">
                <a:ln>
                  <a:noFill/>
                </a:ln>
                <a:solidFill>
                  <a:prstClr val="black"/>
                </a:solidFill>
                <a:effectLst/>
                <a:uLnTx/>
                <a:uFillTx/>
                <a:latin typeface="-apple-system"/>
              </a:rPr>
              <a:t>, </a:t>
            </a:r>
            <a:r>
              <a:rPr kumimoji="0" lang="en-US" altLang="zh-CN" b="0" i="0" u="none" strike="noStrike" kern="1200" cap="none" spc="0" normalizeH="0" baseline="0" noProof="0" dirty="0">
                <a:ln>
                  <a:noFill/>
                </a:ln>
                <a:solidFill>
                  <a:srgbClr val="C00000"/>
                </a:solidFill>
                <a:effectLst/>
                <a:uLnTx/>
                <a:uFillTx/>
                <a:latin typeface="-apple-system"/>
              </a:rPr>
              <a:t>mapping issues</a:t>
            </a:r>
            <a:r>
              <a:rPr kumimoji="0" lang="en-US" altLang="zh-CN" b="0" i="0" u="none" strike="noStrike" kern="1200" cap="none" spc="0" normalizeH="0" baseline="0" noProof="0" dirty="0">
                <a:ln>
                  <a:noFill/>
                </a:ln>
                <a:solidFill>
                  <a:prstClr val="black"/>
                </a:solidFill>
                <a:effectLst/>
                <a:uLnTx/>
                <a:uFillTx/>
                <a:latin typeface="-apple-system"/>
              </a:rPr>
              <a:t>, </a:t>
            </a:r>
            <a:r>
              <a:rPr kumimoji="0" lang="en-US" altLang="zh-CN" b="0" i="0" u="none" strike="noStrike" kern="1200" cap="none" spc="0" normalizeH="0" baseline="0" noProof="0" dirty="0">
                <a:ln>
                  <a:noFill/>
                </a:ln>
                <a:solidFill>
                  <a:srgbClr val="C00000"/>
                </a:solidFill>
                <a:effectLst/>
                <a:uLnTx/>
                <a:uFillTx/>
                <a:latin typeface="-apple-system"/>
              </a:rPr>
              <a:t>programming issues</a:t>
            </a:r>
            <a:r>
              <a:rPr kumimoji="0" lang="en-US" altLang="zh-CN" b="0" i="0" u="none" strike="noStrike" kern="1200" cap="none" spc="0" normalizeH="0" baseline="0" noProof="0" dirty="0">
                <a:ln>
                  <a:noFill/>
                </a:ln>
                <a:solidFill>
                  <a:prstClr val="black"/>
                </a:solidFill>
                <a:effectLst/>
                <a:uLnTx/>
                <a:uFillTx/>
                <a:latin typeface="-apple-system"/>
              </a:rPr>
              <a:t>, or </a:t>
            </a:r>
            <a:r>
              <a:rPr kumimoji="0" lang="en-US" altLang="zh-CN" b="0" i="0" u="none" strike="noStrike" kern="1200" cap="none" spc="0" normalizeH="0" baseline="0" noProof="0" dirty="0">
                <a:ln>
                  <a:noFill/>
                </a:ln>
                <a:solidFill>
                  <a:srgbClr val="C00000"/>
                </a:solidFill>
                <a:effectLst/>
                <a:uLnTx/>
                <a:uFillTx/>
                <a:latin typeface="-apple-system"/>
              </a:rPr>
              <a:t>false issues caused by ongoing processes</a:t>
            </a:r>
            <a:r>
              <a:rPr kumimoji="0" lang="en-US" altLang="zh-CN" b="0" i="0" u="none" strike="noStrike" kern="1200" cap="none" spc="0" normalizeH="0" baseline="0" noProof="0" dirty="0">
                <a:ln>
                  <a:noFill/>
                </a:ln>
                <a:solidFill>
                  <a:prstClr val="black"/>
                </a:solidFill>
                <a:effectLst/>
                <a:uLnTx/>
                <a:uFillTx/>
                <a:latin typeface="-apple-system"/>
              </a:rPr>
              <a:t>.</a:t>
            </a:r>
            <a:endParaRPr kumimoji="0" lang="zh-CN" altLang="en-US" b="0" i="0" u="none" strike="noStrike" kern="1200" cap="none" spc="0" normalizeH="0" baseline="0" noProof="0" dirty="0">
              <a:ln>
                <a:noFill/>
              </a:ln>
              <a:solidFill>
                <a:prstClr val="black"/>
              </a:solidFill>
              <a:effectLst/>
              <a:uLnTx/>
              <a:uFillTx/>
              <a:latin typeface="-apple-system"/>
            </a:endParaRPr>
          </a:p>
        </p:txBody>
      </p:sp>
      <p:grpSp>
        <p:nvGrpSpPr>
          <p:cNvPr id="10" name="Group 9">
            <a:extLst>
              <a:ext uri="{FF2B5EF4-FFF2-40B4-BE49-F238E27FC236}">
                <a16:creationId xmlns:a16="http://schemas.microsoft.com/office/drawing/2014/main" id="{D5FE0575-F76D-E493-1457-3D0ED465634B}"/>
              </a:ext>
            </a:extLst>
          </p:cNvPr>
          <p:cNvGrpSpPr/>
          <p:nvPr/>
        </p:nvGrpSpPr>
        <p:grpSpPr>
          <a:xfrm>
            <a:off x="8672946" y="832784"/>
            <a:ext cx="3094181" cy="899215"/>
            <a:chOff x="8672946" y="832784"/>
            <a:chExt cx="3094181" cy="899215"/>
          </a:xfrm>
        </p:grpSpPr>
        <p:sp>
          <p:nvSpPr>
            <p:cNvPr id="3" name="云形 2">
              <a:extLst>
                <a:ext uri="{FF2B5EF4-FFF2-40B4-BE49-F238E27FC236}">
                  <a16:creationId xmlns:a16="http://schemas.microsoft.com/office/drawing/2014/main" id="{65B50588-2CB4-F667-9BB6-3CE826854AAF}"/>
                </a:ext>
              </a:extLst>
            </p:cNvPr>
            <p:cNvSpPr/>
            <p:nvPr/>
          </p:nvSpPr>
          <p:spPr>
            <a:xfrm>
              <a:off x="8672946" y="832784"/>
              <a:ext cx="3094181" cy="899215"/>
            </a:xfrm>
            <a:prstGeom prst="clou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 name="文本框 4">
              <a:extLst>
                <a:ext uri="{FF2B5EF4-FFF2-40B4-BE49-F238E27FC236}">
                  <a16:creationId xmlns:a16="http://schemas.microsoft.com/office/drawing/2014/main" id="{49C23AA9-D233-F252-10FD-021D46026974}"/>
                </a:ext>
              </a:extLst>
            </p:cNvPr>
            <p:cNvSpPr txBox="1"/>
            <p:nvPr/>
          </p:nvSpPr>
          <p:spPr>
            <a:xfrm>
              <a:off x="9088581" y="1114797"/>
              <a:ext cx="22629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Only for SDTM</a:t>
              </a:r>
              <a:endParaRPr kumimoji="0" lang="zh-CN" altLang="en-US"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sp>
        <p:nvSpPr>
          <p:cNvPr id="11" name="日期占位符 10">
            <a:extLst>
              <a:ext uri="{FF2B5EF4-FFF2-40B4-BE49-F238E27FC236}">
                <a16:creationId xmlns:a16="http://schemas.microsoft.com/office/drawing/2014/main" id="{5040A768-AA76-73F6-BE33-2F6148B735AB}"/>
              </a:ext>
            </a:extLst>
          </p:cNvPr>
          <p:cNvSpPr>
            <a:spLocks noGrp="1"/>
          </p:cNvSpPr>
          <p:nvPr>
            <p:ph type="dt" sz="half" idx="11"/>
          </p:nvPr>
        </p:nvSpPr>
        <p:spPr/>
        <p:txBody>
          <a:bodyPr/>
          <a:lstStyle/>
          <a:p>
            <a:r>
              <a:rPr lang="en-US" altLang="zh-CN" noProof="0"/>
              <a:t>28 . Mar . 2025</a:t>
            </a:r>
            <a:endParaRPr lang="en-US" noProof="0" dirty="0"/>
          </a:p>
        </p:txBody>
      </p:sp>
      <p:sp>
        <p:nvSpPr>
          <p:cNvPr id="13" name="灯片编号占位符 12">
            <a:extLst>
              <a:ext uri="{FF2B5EF4-FFF2-40B4-BE49-F238E27FC236}">
                <a16:creationId xmlns:a16="http://schemas.microsoft.com/office/drawing/2014/main" id="{854E9714-2F7E-0C2C-6261-4E1610D29DE7}"/>
              </a:ext>
            </a:extLst>
          </p:cNvPr>
          <p:cNvSpPr>
            <a:spLocks noGrp="1"/>
          </p:cNvSpPr>
          <p:nvPr>
            <p:ph type="sldNum" sz="quarter" idx="12"/>
          </p:nvPr>
        </p:nvSpPr>
        <p:spPr/>
        <p:txBody>
          <a:bodyPr/>
          <a:lstStyle/>
          <a:p>
            <a:fld id="{6B54B0F7-55DD-40D6-B7F4-70B586885C0B}" type="slidenum">
              <a:rPr lang="en-US" smtClean="0"/>
              <a:pPr/>
              <a:t>7</a:t>
            </a:fld>
            <a:r>
              <a:rPr lang="en-US"/>
              <a:t>/37</a:t>
            </a:r>
            <a:endParaRPr lang="en-US" noProof="0" dirty="0"/>
          </a:p>
        </p:txBody>
      </p:sp>
    </p:spTree>
    <p:custDataLst>
      <p:tags r:id="rId1"/>
    </p:custDataLst>
    <p:extLst>
      <p:ext uri="{BB962C8B-B14F-4D97-AF65-F5344CB8AC3E}">
        <p14:creationId xmlns:p14="http://schemas.microsoft.com/office/powerpoint/2010/main" val="39178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2733FB89-AEB3-5E93-A4D4-71FCDE2D9E9F}"/>
              </a:ext>
            </a:extLst>
          </p:cNvPr>
          <p:cNvSpPr txBox="1"/>
          <p:nvPr/>
        </p:nvSpPr>
        <p:spPr>
          <a:xfrm>
            <a:off x="512064" y="1051560"/>
            <a:ext cx="69677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Shortcoming and Challenge</a:t>
            </a:r>
            <a:endParaRPr kumimoji="0" lang="zh-CN" altLang="en-US"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文本框 3">
            <a:extLst>
              <a:ext uri="{FF2B5EF4-FFF2-40B4-BE49-F238E27FC236}">
                <a16:creationId xmlns:a16="http://schemas.microsoft.com/office/drawing/2014/main" id="{2BB29E21-F94B-610C-7DC1-EEE97761DD05}"/>
              </a:ext>
            </a:extLst>
          </p:cNvPr>
          <p:cNvSpPr txBox="1"/>
          <p:nvPr/>
        </p:nvSpPr>
        <p:spPr>
          <a:xfrm>
            <a:off x="799884" y="1869033"/>
            <a:ext cx="111282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 Issues related to the split domain cannot be clearly identified as belonging to which dataset</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5" name="图片 4">
            <a:extLst>
              <a:ext uri="{FF2B5EF4-FFF2-40B4-BE49-F238E27FC236}">
                <a16:creationId xmlns:a16="http://schemas.microsoft.com/office/drawing/2014/main" id="{5E9CD74A-F2DD-91F1-6106-BAE2B8FB9312}"/>
              </a:ext>
            </a:extLst>
          </p:cNvPr>
          <p:cNvPicPr>
            <a:picLocks noChangeAspect="1"/>
          </p:cNvPicPr>
          <p:nvPr/>
        </p:nvPicPr>
        <p:blipFill>
          <a:blip r:embed="rId4"/>
          <a:stretch>
            <a:fillRect/>
          </a:stretch>
        </p:blipFill>
        <p:spPr>
          <a:xfrm>
            <a:off x="1991535" y="2405564"/>
            <a:ext cx="8007762" cy="2705239"/>
          </a:xfrm>
          <a:prstGeom prst="rect">
            <a:avLst/>
          </a:prstGeom>
        </p:spPr>
      </p:pic>
      <p:sp>
        <p:nvSpPr>
          <p:cNvPr id="8" name="文本框 7">
            <a:extLst>
              <a:ext uri="{FF2B5EF4-FFF2-40B4-BE49-F238E27FC236}">
                <a16:creationId xmlns:a16="http://schemas.microsoft.com/office/drawing/2014/main" id="{07BBFA90-1B0E-FB79-BC6B-70B92C260467}"/>
              </a:ext>
            </a:extLst>
          </p:cNvPr>
          <p:cNvSpPr txBox="1"/>
          <p:nvPr/>
        </p:nvSpPr>
        <p:spPr>
          <a:xfrm>
            <a:off x="886968" y="5369442"/>
            <a:ext cx="111282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P21 aggregates all issues and displays them </a:t>
            </a:r>
            <a:r>
              <a:rPr kumimoji="0" lang="en-US" altLang="zh-CN" sz="1800" b="0" i="0" u="none" strike="noStrike" kern="1200" cap="none" spc="0" normalizeH="0" baseline="0" noProof="0" dirty="0">
                <a:ln>
                  <a:noFill/>
                </a:ln>
                <a:solidFill>
                  <a:srgbClr val="C00000"/>
                </a:solidFill>
                <a:effectLst/>
                <a:uLnTx/>
                <a:uFillTx/>
                <a:latin typeface="-apple-system"/>
                <a:ea typeface="+mn-ea"/>
                <a:cs typeface="+mn-cs"/>
              </a:rPr>
              <a:t>within the split domain without specifying the exact dataset</a:t>
            </a:r>
            <a:r>
              <a:rPr kumimoji="0" lang="en-US" altLang="zh-CN" sz="1800" b="0" i="0" u="none" strike="noStrike" kern="1200" cap="none" spc="0" normalizeH="0" baseline="0" noProof="0" dirty="0">
                <a:ln>
                  <a:noFill/>
                </a:ln>
                <a:solidFill>
                  <a:prstClr val="black"/>
                </a:solidFill>
                <a:effectLst/>
                <a:uLnTx/>
                <a:uFillTx/>
                <a:latin typeface="-apple-system"/>
                <a:ea typeface="+mn-ea"/>
                <a:cs typeface="+mn-cs"/>
              </a:rPr>
              <a:t>, resulting in the inability to directly verify the issues within the respective datasets.</a:t>
            </a:r>
            <a:endParaRPr kumimoji="0" lang="zh-CN" altLang="en-US" sz="1800" b="0" i="0" u="none" strike="noStrike" kern="1200" cap="none" spc="0" normalizeH="0" baseline="0" noProof="0" dirty="0">
              <a:ln>
                <a:noFill/>
              </a:ln>
              <a:solidFill>
                <a:prstClr val="black"/>
              </a:solidFill>
              <a:effectLst/>
              <a:uLnTx/>
              <a:uFillTx/>
              <a:latin typeface="-apple-system"/>
              <a:ea typeface="+mn-ea"/>
              <a:cs typeface="+mn-cs"/>
            </a:endParaRPr>
          </a:p>
        </p:txBody>
      </p:sp>
      <p:grpSp>
        <p:nvGrpSpPr>
          <p:cNvPr id="11" name="Group 10">
            <a:extLst>
              <a:ext uri="{FF2B5EF4-FFF2-40B4-BE49-F238E27FC236}">
                <a16:creationId xmlns:a16="http://schemas.microsoft.com/office/drawing/2014/main" id="{5AE399E4-62B7-0A59-7B4C-01EC25557CEA}"/>
              </a:ext>
            </a:extLst>
          </p:cNvPr>
          <p:cNvGrpSpPr/>
          <p:nvPr/>
        </p:nvGrpSpPr>
        <p:grpSpPr>
          <a:xfrm>
            <a:off x="8672946" y="832784"/>
            <a:ext cx="3094181" cy="899215"/>
            <a:chOff x="8672946" y="832784"/>
            <a:chExt cx="3094181" cy="899215"/>
          </a:xfrm>
        </p:grpSpPr>
        <p:sp>
          <p:nvSpPr>
            <p:cNvPr id="12" name="云形 2">
              <a:extLst>
                <a:ext uri="{FF2B5EF4-FFF2-40B4-BE49-F238E27FC236}">
                  <a16:creationId xmlns:a16="http://schemas.microsoft.com/office/drawing/2014/main" id="{462534F9-D57F-021D-3278-912814E22323}"/>
                </a:ext>
              </a:extLst>
            </p:cNvPr>
            <p:cNvSpPr/>
            <p:nvPr/>
          </p:nvSpPr>
          <p:spPr>
            <a:xfrm>
              <a:off x="8672946" y="832784"/>
              <a:ext cx="3094181" cy="899215"/>
            </a:xfrm>
            <a:prstGeom prst="clou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文本框 4">
              <a:extLst>
                <a:ext uri="{FF2B5EF4-FFF2-40B4-BE49-F238E27FC236}">
                  <a16:creationId xmlns:a16="http://schemas.microsoft.com/office/drawing/2014/main" id="{A484BEBC-664A-2CBB-02F1-FC6B9351F93B}"/>
                </a:ext>
              </a:extLst>
            </p:cNvPr>
            <p:cNvSpPr txBox="1"/>
            <p:nvPr/>
          </p:nvSpPr>
          <p:spPr>
            <a:xfrm>
              <a:off x="9088581" y="1114797"/>
              <a:ext cx="22629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Only for SDTM</a:t>
              </a:r>
              <a:endParaRPr kumimoji="0" lang="zh-CN" altLang="en-US"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sp>
        <p:nvSpPr>
          <p:cNvPr id="3" name="日期占位符 2">
            <a:extLst>
              <a:ext uri="{FF2B5EF4-FFF2-40B4-BE49-F238E27FC236}">
                <a16:creationId xmlns:a16="http://schemas.microsoft.com/office/drawing/2014/main" id="{94114027-9F65-78E2-029C-CB0754873B92}"/>
              </a:ext>
            </a:extLst>
          </p:cNvPr>
          <p:cNvSpPr>
            <a:spLocks noGrp="1"/>
          </p:cNvSpPr>
          <p:nvPr>
            <p:ph type="dt" sz="half" idx="11"/>
          </p:nvPr>
        </p:nvSpPr>
        <p:spPr/>
        <p:txBody>
          <a:bodyPr/>
          <a:lstStyle/>
          <a:p>
            <a:r>
              <a:rPr lang="en-US" altLang="zh-CN" noProof="0"/>
              <a:t>28 . Mar . 2025</a:t>
            </a:r>
            <a:endParaRPr lang="en-US" noProof="0" dirty="0"/>
          </a:p>
        </p:txBody>
      </p:sp>
      <p:sp>
        <p:nvSpPr>
          <p:cNvPr id="10" name="灯片编号占位符 9">
            <a:extLst>
              <a:ext uri="{FF2B5EF4-FFF2-40B4-BE49-F238E27FC236}">
                <a16:creationId xmlns:a16="http://schemas.microsoft.com/office/drawing/2014/main" id="{F0B89273-A1BE-E659-19A6-829A81C63E02}"/>
              </a:ext>
            </a:extLst>
          </p:cNvPr>
          <p:cNvSpPr>
            <a:spLocks noGrp="1"/>
          </p:cNvSpPr>
          <p:nvPr>
            <p:ph type="sldNum" sz="quarter" idx="12"/>
          </p:nvPr>
        </p:nvSpPr>
        <p:spPr/>
        <p:txBody>
          <a:bodyPr/>
          <a:lstStyle/>
          <a:p>
            <a:fld id="{6B54B0F7-55DD-40D6-B7F4-70B586885C0B}" type="slidenum">
              <a:rPr lang="en-US" smtClean="0"/>
              <a:pPr/>
              <a:t>8</a:t>
            </a:fld>
            <a:r>
              <a:rPr lang="en-US"/>
              <a:t>/37</a:t>
            </a:r>
            <a:endParaRPr lang="en-US" noProof="0" dirty="0"/>
          </a:p>
        </p:txBody>
      </p:sp>
    </p:spTree>
    <p:custDataLst>
      <p:tags r:id="rId1"/>
    </p:custDataLst>
    <p:extLst>
      <p:ext uri="{BB962C8B-B14F-4D97-AF65-F5344CB8AC3E}">
        <p14:creationId xmlns:p14="http://schemas.microsoft.com/office/powerpoint/2010/main" val="24544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FCD7A1A-AC55-4A33-BF10-0F487B76AD7E}"/>
              </a:ext>
            </a:extLst>
          </p:cNvPr>
          <p:cNvSpPr/>
          <p:nvPr/>
        </p:nvSpPr>
        <p:spPr>
          <a:xfrm>
            <a:off x="0" y="0"/>
            <a:ext cx="12192000" cy="69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Background – P21</a:t>
            </a:r>
            <a:endParaRPr kumimoji="0" lang="en-US" sz="2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2733FB89-AEB3-5E93-A4D4-71FCDE2D9E9F}"/>
              </a:ext>
            </a:extLst>
          </p:cNvPr>
          <p:cNvSpPr txBox="1"/>
          <p:nvPr/>
        </p:nvSpPr>
        <p:spPr>
          <a:xfrm>
            <a:off x="512064" y="1051560"/>
            <a:ext cx="696772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Shortcoming and Challenge</a:t>
            </a:r>
            <a:endParaRPr kumimoji="0" lang="zh-CN" altLang="en-US" sz="24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文本框 3">
            <a:extLst>
              <a:ext uri="{FF2B5EF4-FFF2-40B4-BE49-F238E27FC236}">
                <a16:creationId xmlns:a16="http://schemas.microsoft.com/office/drawing/2014/main" id="{2BB29E21-F94B-610C-7DC1-EEE97761DD05}"/>
              </a:ext>
            </a:extLst>
          </p:cNvPr>
          <p:cNvSpPr txBox="1"/>
          <p:nvPr/>
        </p:nvSpPr>
        <p:spPr>
          <a:xfrm>
            <a:off x="886968" y="1869033"/>
            <a:ext cx="111282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 SDTM-related data information about issue is incomplete</a:t>
            </a:r>
            <a:endPar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07BBFA90-1B0E-FB79-BC6B-70B92C260467}"/>
              </a:ext>
            </a:extLst>
          </p:cNvPr>
          <p:cNvSpPr txBox="1"/>
          <p:nvPr/>
        </p:nvSpPr>
        <p:spPr>
          <a:xfrm>
            <a:off x="886968" y="5149986"/>
            <a:ext cx="111282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a:ln>
                  <a:noFill/>
                </a:ln>
                <a:solidFill>
                  <a:prstClr val="black"/>
                </a:solidFill>
                <a:effectLst/>
                <a:uLnTx/>
                <a:uFillTx/>
                <a:latin typeface="-apple-system"/>
                <a:ea typeface="+mn-ea"/>
                <a:cs typeface="+mn-cs"/>
              </a:rPr>
              <a:t>P21 only provides the variable values that were found to have issues during the check, as well as the position (record) of the observation in the SDTM data. It does not offer an identifier,</a:t>
            </a:r>
            <a:r>
              <a:rPr kumimoji="0" lang="zh-CN" altLang="en-US" sz="1800" b="0" i="0" u="none" strike="noStrike" kern="1200" cap="none" spc="0" normalizeH="0" baseline="0" noProof="0">
                <a:ln>
                  <a:noFill/>
                </a:ln>
                <a:solidFill>
                  <a:prstClr val="black"/>
                </a:solidFill>
                <a:effectLst/>
                <a:uLnTx/>
                <a:uFillTx/>
                <a:latin typeface="-apple-system"/>
                <a:ea typeface="+mn-ea"/>
                <a:cs typeface="+mn-cs"/>
              </a:rPr>
              <a:t> </a:t>
            </a:r>
            <a:r>
              <a:rPr kumimoji="0" lang="en-US" altLang="zh-CN" sz="1800" b="0" i="0" u="none" strike="noStrike" kern="1200" cap="none" spc="0" normalizeH="0" baseline="0" noProof="0">
                <a:ln>
                  <a:noFill/>
                </a:ln>
                <a:solidFill>
                  <a:prstClr val="black"/>
                </a:solidFill>
                <a:effectLst/>
                <a:uLnTx/>
                <a:uFillTx/>
                <a:latin typeface="-apple-system"/>
                <a:ea typeface="+mn-ea"/>
                <a:cs typeface="+mn-cs"/>
              </a:rPr>
              <a:t>or other variable information that can accurately </a:t>
            </a:r>
            <a:r>
              <a:rPr kumimoji="0" lang="en-US" altLang="zh-CN" sz="1800" b="0" i="0" u="none" strike="noStrike" kern="1200" cap="none" spc="0" normalizeH="0" baseline="0" noProof="0">
                <a:ln>
                  <a:noFill/>
                </a:ln>
                <a:solidFill>
                  <a:srgbClr val="C00000"/>
                </a:solidFill>
                <a:effectLst/>
                <a:uLnTx/>
                <a:uFillTx/>
                <a:latin typeface="-apple-system"/>
                <a:ea typeface="+mn-ea"/>
                <a:cs typeface="+mn-cs"/>
              </a:rPr>
              <a:t>trace back to the raw data</a:t>
            </a:r>
            <a:r>
              <a:rPr kumimoji="0" lang="en-US" altLang="zh-CN" sz="1800" b="0" i="0" u="none" strike="noStrike" kern="1200" cap="none" spc="0" normalizeH="0" baseline="0" noProof="0">
                <a:ln>
                  <a:noFill/>
                </a:ln>
                <a:solidFill>
                  <a:prstClr val="black"/>
                </a:solidFill>
                <a:effectLst/>
                <a:uLnTx/>
                <a:uFillTx/>
                <a:latin typeface="-apple-system"/>
                <a:ea typeface="+mn-ea"/>
                <a:cs typeface="+mn-cs"/>
              </a:rPr>
              <a:t>, leading to an excessively long time spent on issue checking.</a:t>
            </a:r>
            <a:endParaRPr kumimoji="0" lang="zh-CN" altLang="en-US" sz="1800" b="0" i="0" u="none" strike="noStrike" kern="1200" cap="none" spc="0" normalizeH="0" baseline="0" noProof="0">
              <a:ln>
                <a:noFill/>
              </a:ln>
              <a:solidFill>
                <a:prstClr val="black"/>
              </a:solidFill>
              <a:effectLst/>
              <a:uLnTx/>
              <a:uFillTx/>
              <a:latin typeface="-apple-system"/>
              <a:ea typeface="+mn-ea"/>
              <a:cs typeface="+mn-cs"/>
            </a:endParaRPr>
          </a:p>
        </p:txBody>
      </p:sp>
      <p:pic>
        <p:nvPicPr>
          <p:cNvPr id="6" name="图片 5">
            <a:extLst>
              <a:ext uri="{FF2B5EF4-FFF2-40B4-BE49-F238E27FC236}">
                <a16:creationId xmlns:a16="http://schemas.microsoft.com/office/drawing/2014/main" id="{C9EBBD72-0C78-B880-32F3-D6C2D2ABD646}"/>
              </a:ext>
            </a:extLst>
          </p:cNvPr>
          <p:cNvPicPr>
            <a:picLocks noChangeAspect="1"/>
          </p:cNvPicPr>
          <p:nvPr/>
        </p:nvPicPr>
        <p:blipFill>
          <a:blip r:embed="rId4"/>
          <a:stretch>
            <a:fillRect/>
          </a:stretch>
        </p:blipFill>
        <p:spPr>
          <a:xfrm>
            <a:off x="1298328" y="2478841"/>
            <a:ext cx="9595343" cy="2165461"/>
          </a:xfrm>
          <a:prstGeom prst="rect">
            <a:avLst/>
          </a:prstGeom>
        </p:spPr>
      </p:pic>
      <p:grpSp>
        <p:nvGrpSpPr>
          <p:cNvPr id="10" name="Group 9">
            <a:extLst>
              <a:ext uri="{FF2B5EF4-FFF2-40B4-BE49-F238E27FC236}">
                <a16:creationId xmlns:a16="http://schemas.microsoft.com/office/drawing/2014/main" id="{AF15074F-C8BD-991C-05B7-D1E5FE2C9287}"/>
              </a:ext>
            </a:extLst>
          </p:cNvPr>
          <p:cNvGrpSpPr/>
          <p:nvPr/>
        </p:nvGrpSpPr>
        <p:grpSpPr>
          <a:xfrm>
            <a:off x="8672946" y="832784"/>
            <a:ext cx="3094181" cy="899215"/>
            <a:chOff x="8672946" y="832784"/>
            <a:chExt cx="3094181" cy="899215"/>
          </a:xfrm>
        </p:grpSpPr>
        <p:sp>
          <p:nvSpPr>
            <p:cNvPr id="11" name="云形 2">
              <a:extLst>
                <a:ext uri="{FF2B5EF4-FFF2-40B4-BE49-F238E27FC236}">
                  <a16:creationId xmlns:a16="http://schemas.microsoft.com/office/drawing/2014/main" id="{DADF3A67-8846-EFCE-A490-2BB7CCE540B4}"/>
                </a:ext>
              </a:extLst>
            </p:cNvPr>
            <p:cNvSpPr/>
            <p:nvPr/>
          </p:nvSpPr>
          <p:spPr>
            <a:xfrm>
              <a:off x="8672946" y="832784"/>
              <a:ext cx="3094181" cy="899215"/>
            </a:xfrm>
            <a:prstGeom prst="clou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文本框 4">
              <a:extLst>
                <a:ext uri="{FF2B5EF4-FFF2-40B4-BE49-F238E27FC236}">
                  <a16:creationId xmlns:a16="http://schemas.microsoft.com/office/drawing/2014/main" id="{B4A2879A-0004-F6DC-6C26-BE4224E09E7F}"/>
                </a:ext>
              </a:extLst>
            </p:cNvPr>
            <p:cNvSpPr txBox="1"/>
            <p:nvPr/>
          </p:nvSpPr>
          <p:spPr>
            <a:xfrm>
              <a:off x="9088581" y="1114797"/>
              <a:ext cx="22629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Only for SDTM</a:t>
              </a:r>
              <a:endParaRPr kumimoji="0" lang="zh-CN" altLang="en-US" sz="18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sp>
        <p:nvSpPr>
          <p:cNvPr id="3" name="日期占位符 2">
            <a:extLst>
              <a:ext uri="{FF2B5EF4-FFF2-40B4-BE49-F238E27FC236}">
                <a16:creationId xmlns:a16="http://schemas.microsoft.com/office/drawing/2014/main" id="{6D5591CA-6D4E-4869-621D-B5695CF1C547}"/>
              </a:ext>
            </a:extLst>
          </p:cNvPr>
          <p:cNvSpPr>
            <a:spLocks noGrp="1"/>
          </p:cNvSpPr>
          <p:nvPr>
            <p:ph type="dt" sz="half" idx="11"/>
          </p:nvPr>
        </p:nvSpPr>
        <p:spPr/>
        <p:txBody>
          <a:bodyPr/>
          <a:lstStyle/>
          <a:p>
            <a:r>
              <a:rPr lang="en-US" altLang="zh-CN" noProof="0"/>
              <a:t>28 . Mar . 2025</a:t>
            </a:r>
            <a:endParaRPr lang="en-US" noProof="0" dirty="0"/>
          </a:p>
        </p:txBody>
      </p:sp>
      <p:sp>
        <p:nvSpPr>
          <p:cNvPr id="13" name="灯片编号占位符 12">
            <a:extLst>
              <a:ext uri="{FF2B5EF4-FFF2-40B4-BE49-F238E27FC236}">
                <a16:creationId xmlns:a16="http://schemas.microsoft.com/office/drawing/2014/main" id="{6D04A5FD-BC3E-3876-9B26-53C821B8E74D}"/>
              </a:ext>
            </a:extLst>
          </p:cNvPr>
          <p:cNvSpPr>
            <a:spLocks noGrp="1"/>
          </p:cNvSpPr>
          <p:nvPr>
            <p:ph type="sldNum" sz="quarter" idx="12"/>
          </p:nvPr>
        </p:nvSpPr>
        <p:spPr/>
        <p:txBody>
          <a:bodyPr/>
          <a:lstStyle/>
          <a:p>
            <a:fld id="{6B54B0F7-55DD-40D6-B7F4-70B586885C0B}" type="slidenum">
              <a:rPr lang="en-US" smtClean="0"/>
              <a:pPr/>
              <a:t>9</a:t>
            </a:fld>
            <a:r>
              <a:rPr lang="en-US"/>
              <a:t>/37</a:t>
            </a:r>
            <a:endParaRPr lang="en-US" noProof="0" dirty="0"/>
          </a:p>
        </p:txBody>
      </p:sp>
    </p:spTree>
    <p:custDataLst>
      <p:tags r:id="rId1"/>
    </p:custDataLst>
    <p:extLst>
      <p:ext uri="{BB962C8B-B14F-4D97-AF65-F5344CB8AC3E}">
        <p14:creationId xmlns:p14="http://schemas.microsoft.com/office/powerpoint/2010/main" val="374328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A" val="v3.0.1"/>
</p:tagLst>
</file>

<file path=ppt/tags/tag10.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1.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2.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3.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4.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5.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6.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7.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8.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19.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20.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1.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2.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3.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4.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5.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6.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7.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8.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29.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30.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31.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32.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33.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6.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7.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8.xml><?xml version="1.0" encoding="utf-8"?>
<p:tagLst xmlns:a="http://schemas.openxmlformats.org/drawingml/2006/main" xmlns:r="http://schemas.openxmlformats.org/officeDocument/2006/relationships" xmlns:p="http://schemas.openxmlformats.org/presentationml/2006/main">
  <p:tag name="INSTRUMENTA EXPORT" val="YES"/>
</p:tagLst>
</file>

<file path=ppt/tags/tag9.xml><?xml version="1.0" encoding="utf-8"?>
<p:tagLst xmlns:a="http://schemas.openxmlformats.org/drawingml/2006/main" xmlns:r="http://schemas.openxmlformats.org/officeDocument/2006/relationships" xmlns:p="http://schemas.openxmlformats.org/presentationml/2006/main">
  <p:tag name="INSTRUMENTA EXPORT" val="YES"/>
</p:tagLst>
</file>

<file path=ppt/theme/theme1.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2.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P_Slide_kit_V2.pptx" id="{FC4B3094-30B2-465F-91A6-FB8C71037F9C}" vid="{4012DA16-933E-4C5B-A48B-AD5E772851BD}"/>
    </a:ext>
  </a:extLst>
</a:theme>
</file>

<file path=ppt/theme/theme3.xml><?xml version="1.0" encoding="utf-8"?>
<a:theme xmlns:a="http://schemas.openxmlformats.org/drawingml/2006/main" name="2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P_Slide_kit_V2.pptx" id="{FC4B3094-30B2-465F-91A6-FB8C71037F9C}" vid="{4012DA16-933E-4C5B-A48B-AD5E772851BD}"/>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168d951-2a44-44ea-94ce-124d79cb5775" xsi:nil="true"/>
    <lcf76f155ced4ddcb4097134ff3c332f xmlns="22097e67-3702-4145-ae3c-ab2d08f2d24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DD330A8F9055042890036CB9CB0E98E" ma:contentTypeVersion="14" ma:contentTypeDescription="Create a new document." ma:contentTypeScope="" ma:versionID="118c8c74cfcaf2b68477d9bce4a4f585">
  <xsd:schema xmlns:xsd="http://www.w3.org/2001/XMLSchema" xmlns:xs="http://www.w3.org/2001/XMLSchema" xmlns:p="http://schemas.microsoft.com/office/2006/metadata/properties" xmlns:ns2="22097e67-3702-4145-ae3c-ab2d08f2d24f" xmlns:ns3="f168d951-2a44-44ea-94ce-124d79cb5775" targetNamespace="http://schemas.microsoft.com/office/2006/metadata/properties" ma:root="true" ma:fieldsID="9f86b2192a711066df9229ab57eaf9cb" ns2:_="" ns3:_="">
    <xsd:import namespace="22097e67-3702-4145-ae3c-ab2d08f2d24f"/>
    <xsd:import namespace="f168d951-2a44-44ea-94ce-124d79cb577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097e67-3702-4145-ae3c-ab2d08f2d2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fb0b088-da3c-47ed-872c-fc1360427ae0"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68d951-2a44-44ea-94ce-124d79cb5775"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d43c58f-19ba-4430-8bfe-7a78726da4bf}" ma:internalName="TaxCatchAll" ma:showField="CatchAllData" ma:web="f168d951-2a44-44ea-94ce-124d79cb577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D7CCD6-2D77-4A59-870D-5D2F4BF7F0E0}">
  <ds:schemaRefs>
    <ds:schemaRef ds:uri="http://schemas.microsoft.com/sharepoint/v3/contenttype/forms"/>
  </ds:schemaRefs>
</ds:datastoreItem>
</file>

<file path=customXml/itemProps2.xml><?xml version="1.0" encoding="utf-8"?>
<ds:datastoreItem xmlns:ds="http://schemas.openxmlformats.org/officeDocument/2006/customXml" ds:itemID="{A6963E99-F2F4-4DFB-9029-A2519023E174}">
  <ds:schemaRefs>
    <ds:schemaRef ds:uri="http://schemas.openxmlformats.org/package/2006/metadata/core-properties"/>
    <ds:schemaRef ds:uri="http://schemas.microsoft.com/office/infopath/2007/PartnerControls"/>
    <ds:schemaRef ds:uri="http://purl.org/dc/elements/1.1/"/>
    <ds:schemaRef ds:uri="http://schemas.microsoft.com/office/2006/documentManagement/types"/>
    <ds:schemaRef ds:uri="http://purl.org/dc/dcmitype/"/>
    <ds:schemaRef ds:uri="http://purl.org/dc/terms/"/>
    <ds:schemaRef ds:uri="22097e67-3702-4145-ae3c-ab2d08f2d24f"/>
    <ds:schemaRef ds:uri="f168d951-2a44-44ea-94ce-124d79cb5775"/>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4FA42F4-1AE6-42FD-920B-85A4AFBFE47D}">
  <ds:schemaRefs>
    <ds:schemaRef ds:uri="22097e67-3702-4145-ae3c-ab2d08f2d24f"/>
    <ds:schemaRef ds:uri="f168d951-2a44-44ea-94ce-124d79cb57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TotalTime>
  <Words>1791</Words>
  <Application>Microsoft Office PowerPoint</Application>
  <PresentationFormat>Widescreen</PresentationFormat>
  <Paragraphs>350</Paragraphs>
  <Slides>36</Slides>
  <Notes>30</Notes>
  <HiddenSlides>0</HiddenSlides>
  <MMClips>1</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6</vt:i4>
      </vt:variant>
    </vt:vector>
  </HeadingPairs>
  <TitlesOfParts>
    <vt:vector size="49" baseType="lpstr">
      <vt:lpstr>-apple-system</vt:lpstr>
      <vt:lpstr>等线</vt:lpstr>
      <vt:lpstr>微软雅黑</vt:lpstr>
      <vt:lpstr>Sanofi Sans 3 Regular</vt:lpstr>
      <vt:lpstr>Arial</vt:lpstr>
      <vt:lpstr>Calibri</vt:lpstr>
      <vt:lpstr>Copperplate Gothic Bold</vt:lpstr>
      <vt:lpstr>Georgia</vt:lpstr>
      <vt:lpstr>Verdana</vt:lpstr>
      <vt:lpstr>Wingdings</vt:lpstr>
      <vt:lpstr>Sanofi</vt:lpstr>
      <vt:lpstr>1_Sanofi</vt:lpstr>
      <vt:lpstr>2_Sanof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pection readiness - B&amp;P Playbook</dc:title>
  <dc:creator>Xi, Nana /CN</dc:creator>
  <cp:lastModifiedBy>Zhang, Fan /CN</cp:lastModifiedBy>
  <cp:revision>6</cp:revision>
  <cp:lastPrinted>2022-03-09T14:52:09Z</cp:lastPrinted>
  <dcterms:created xsi:type="dcterms:W3CDTF">2021-09-22T08:02:43Z</dcterms:created>
  <dcterms:modified xsi:type="dcterms:W3CDTF">2025-03-27T07:5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D330A8F9055042890036CB9CB0E98E</vt:lpwstr>
  </property>
  <property fmtid="{D5CDD505-2E9C-101B-9397-08002B2CF9AE}" pid="3" name="MediaServiceImageTags">
    <vt:lpwstr/>
  </property>
  <property fmtid="{D5CDD505-2E9C-101B-9397-08002B2CF9AE}" pid="4" name="MSIP_Label_9e3dcb88-8425-4e1d-b1a3-bd5572915bbc_Enabled">
    <vt:lpwstr>true</vt:lpwstr>
  </property>
  <property fmtid="{D5CDD505-2E9C-101B-9397-08002B2CF9AE}" pid="5" name="MSIP_Label_9e3dcb88-8425-4e1d-b1a3-bd5572915bbc_SetDate">
    <vt:lpwstr>2023-08-17T13:28:48Z</vt:lpwstr>
  </property>
  <property fmtid="{D5CDD505-2E9C-101B-9397-08002B2CF9AE}" pid="6" name="MSIP_Label_9e3dcb88-8425-4e1d-b1a3-bd5572915bbc_Method">
    <vt:lpwstr>Privileged</vt:lpwstr>
  </property>
  <property fmtid="{D5CDD505-2E9C-101B-9397-08002B2CF9AE}" pid="7" name="MSIP_Label_9e3dcb88-8425-4e1d-b1a3-bd5572915bbc_Name">
    <vt:lpwstr>Internal</vt:lpwstr>
  </property>
  <property fmtid="{D5CDD505-2E9C-101B-9397-08002B2CF9AE}" pid="8" name="MSIP_Label_9e3dcb88-8425-4e1d-b1a3-bd5572915bbc_SiteId">
    <vt:lpwstr>aca3c8d6-aa71-4e1a-a10e-03572fc58c0b</vt:lpwstr>
  </property>
  <property fmtid="{D5CDD505-2E9C-101B-9397-08002B2CF9AE}" pid="9" name="MSIP_Label_9e3dcb88-8425-4e1d-b1a3-bd5572915bbc_ActionId">
    <vt:lpwstr>335583e1-6895-4fc5-802e-cfd9cbe023eb</vt:lpwstr>
  </property>
  <property fmtid="{D5CDD505-2E9C-101B-9397-08002B2CF9AE}" pid="10" name="MSIP_Label_9e3dcb88-8425-4e1d-b1a3-bd5572915bbc_ContentBits">
    <vt:lpwstr>1</vt:lpwstr>
  </property>
  <property fmtid="{D5CDD505-2E9C-101B-9397-08002B2CF9AE}" pid="11" name="ClassificationContentMarkingHeaderLocations">
    <vt:lpwstr>3 Sanofi_Slide Kit_EN_16-9_2017:5\1_3 Sanofi_Slide Kit_EN_16-9_2017:5\2_Sanofi:7\Sanofi:7</vt:lpwstr>
  </property>
  <property fmtid="{D5CDD505-2E9C-101B-9397-08002B2CF9AE}" pid="12" name="ClassificationContentMarkingHeaderText">
    <vt:lpwstr>Internal</vt:lpwstr>
  </property>
</Properties>
</file>